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  <p:sldMasterId id="2147483731" r:id="rId3"/>
    <p:sldMasterId id="2147483738" r:id="rId4"/>
  </p:sldMasterIdLst>
  <p:notesMasterIdLst>
    <p:notesMasterId r:id="rId27"/>
  </p:notesMasterIdLst>
  <p:sldIdLst>
    <p:sldId id="256" r:id="rId5"/>
    <p:sldId id="2252" r:id="rId6"/>
    <p:sldId id="723" r:id="rId7"/>
    <p:sldId id="2258" r:id="rId8"/>
    <p:sldId id="2257" r:id="rId9"/>
    <p:sldId id="4656" r:id="rId10"/>
    <p:sldId id="4574" r:id="rId11"/>
    <p:sldId id="2253" r:id="rId12"/>
    <p:sldId id="2259" r:id="rId13"/>
    <p:sldId id="4537" r:id="rId14"/>
    <p:sldId id="2262" r:id="rId15"/>
    <p:sldId id="737" r:id="rId16"/>
    <p:sldId id="2216" r:id="rId17"/>
    <p:sldId id="2217" r:id="rId18"/>
    <p:sldId id="2172" r:id="rId19"/>
    <p:sldId id="2236" r:id="rId20"/>
    <p:sldId id="2250" r:id="rId21"/>
    <p:sldId id="4532" r:id="rId22"/>
    <p:sldId id="4657" r:id="rId23"/>
    <p:sldId id="750" r:id="rId24"/>
    <p:sldId id="2221" r:id="rId25"/>
    <p:sldId id="705" r:id="rId26"/>
  </p:sldIdLst>
  <p:sldSz cx="12192000" cy="6858000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5EA"/>
    <a:srgbClr val="00002F"/>
    <a:srgbClr val="920E04"/>
    <a:srgbClr val="B31105"/>
    <a:srgbClr val="E9EBF5"/>
    <a:srgbClr val="2B2B82"/>
    <a:srgbClr val="3E2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26" autoAdjust="0"/>
    <p:restoredTop sz="93883" autoAdjust="0"/>
  </p:normalViewPr>
  <p:slideViewPr>
    <p:cSldViewPr snapToGrid="0">
      <p:cViewPr varScale="1">
        <p:scale>
          <a:sx n="107" d="100"/>
          <a:sy n="107" d="100"/>
        </p:scale>
        <p:origin x="78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0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2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50</c:v>
                </c:pt>
                <c:pt idx="38">
                  <c:v>3406</c:v>
                </c:pt>
                <c:pt idx="39">
                  <c:v>3596</c:v>
                </c:pt>
                <c:pt idx="40">
                  <c:v>3749</c:v>
                </c:pt>
                <c:pt idx="41">
                  <c:v>3882</c:v>
                </c:pt>
                <c:pt idx="42">
                  <c:v>4045</c:v>
                </c:pt>
                <c:pt idx="43">
                  <c:v>3986</c:v>
                </c:pt>
                <c:pt idx="44">
                  <c:v>4128</c:v>
                </c:pt>
                <c:pt idx="45">
                  <c:v>4775</c:v>
                </c:pt>
                <c:pt idx="46">
                  <c:v>4837</c:v>
                </c:pt>
                <c:pt idx="47">
                  <c:v>4809</c:v>
                </c:pt>
                <c:pt idx="48">
                  <c:v>5174</c:v>
                </c:pt>
                <c:pt idx="49">
                  <c:v>5299</c:v>
                </c:pt>
                <c:pt idx="50">
                  <c:v>5189</c:v>
                </c:pt>
                <c:pt idx="51">
                  <c:v>5386</c:v>
                </c:pt>
                <c:pt idx="52">
                  <c:v>5960</c:v>
                </c:pt>
                <c:pt idx="53">
                  <c:v>6066</c:v>
                </c:pt>
                <c:pt idx="54">
                  <c:v>6126</c:v>
                </c:pt>
                <c:pt idx="55">
                  <c:v>6141</c:v>
                </c:pt>
                <c:pt idx="56">
                  <c:v>62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04-48BF-8683-7E89300304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604-48BF-8683-7E89300304D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604-48BF-8683-7E89300304D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604-48BF-8683-7E89300304D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604-48BF-8683-7E89300304DA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604-48BF-8683-7E89300304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0</c:v>
                </c:pt>
                <c:pt idx="47">
                  <c:v>690</c:v>
                </c:pt>
                <c:pt idx="48">
                  <c:v>715</c:v>
                </c:pt>
                <c:pt idx="49">
                  <c:v>744</c:v>
                </c:pt>
                <c:pt idx="50">
                  <c:v>752</c:v>
                </c:pt>
                <c:pt idx="51">
                  <c:v>778</c:v>
                </c:pt>
                <c:pt idx="52">
                  <c:v>812</c:v>
                </c:pt>
                <c:pt idx="53">
                  <c:v>855</c:v>
                </c:pt>
                <c:pt idx="54">
                  <c:v>859</c:v>
                </c:pt>
                <c:pt idx="55">
                  <c:v>883</c:v>
                </c:pt>
                <c:pt idx="56">
                  <c:v>906</c:v>
                </c:pt>
                <c:pt idx="57">
                  <c:v>9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65-47FE-992B-BE219CBF8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C65-47FE-992B-BE219CBF8B1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C65-47FE-992B-BE219CBF8B1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C65-47FE-992B-BE219CBF8B1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C65-47FE-992B-BE219CBF8B1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C65-47FE-992B-BE219CBF8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58706551135695528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čet na 10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Jihomoravský kraj</c:v>
                </c:pt>
                <c:pt idx="2">
                  <c:v>ČR</c:v>
                </c:pt>
                <c:pt idx="3">
                  <c:v>Královéhradecký kraj</c:v>
                </c:pt>
                <c:pt idx="4">
                  <c:v>Jihočeský kraj</c:v>
                </c:pt>
                <c:pt idx="5">
                  <c:v>Plzeňský kraj</c:v>
                </c:pt>
                <c:pt idx="6">
                  <c:v>Karlovarský kraj</c:v>
                </c:pt>
                <c:pt idx="7">
                  <c:v>Kraj Vysočina</c:v>
                </c:pt>
                <c:pt idx="8">
                  <c:v>Liberec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Zlíns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Středoče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036168509999996</c:v>
                </c:pt>
                <c:pt idx="1">
                  <c:v>62.94771222</c:v>
                </c:pt>
                <c:pt idx="2">
                  <c:v>62.309511780000001</c:v>
                </c:pt>
                <c:pt idx="3">
                  <c:v>61.963714789999997</c:v>
                </c:pt>
                <c:pt idx="4">
                  <c:v>61.824936950000001</c:v>
                </c:pt>
                <c:pt idx="5">
                  <c:v>61.389311399999997</c:v>
                </c:pt>
                <c:pt idx="6">
                  <c:v>59.64079083</c:v>
                </c:pt>
                <c:pt idx="7">
                  <c:v>59.396641850000002</c:v>
                </c:pt>
                <c:pt idx="8">
                  <c:v>58.94760394</c:v>
                </c:pt>
                <c:pt idx="9">
                  <c:v>57.835702150000003</c:v>
                </c:pt>
                <c:pt idx="10">
                  <c:v>57.521382559999999</c:v>
                </c:pt>
                <c:pt idx="11">
                  <c:v>57.498547709999997</c:v>
                </c:pt>
                <c:pt idx="12">
                  <c:v>57.339411849999998</c:v>
                </c:pt>
                <c:pt idx="13">
                  <c:v>55.376021770000001</c:v>
                </c:pt>
                <c:pt idx="14">
                  <c:v>49.62206642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0-436F-97B1-569334F9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5619672675423385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čet na 100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4AC-4CC0-8C06-7C983779B817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70-4302-9DB9-2A40D2C7CF52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5DF-41AA-A790-347E5AF75114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B13-47B8-8D55-3C11AB97633A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Hlavní město Praha</c:v>
                </c:pt>
                <c:pt idx="3">
                  <c:v>Jihočeský kraj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lzeňský kraj</c:v>
                </c:pt>
                <c:pt idx="7">
                  <c:v>Ústecký kraj</c:v>
                </c:pt>
                <c:pt idx="8">
                  <c:v>Pardubický kraj</c:v>
                </c:pt>
                <c:pt idx="9">
                  <c:v>Jihomoravský kraj</c:v>
                </c:pt>
                <c:pt idx="10">
                  <c:v>Karlovarský kraj</c:v>
                </c:pt>
                <c:pt idx="11">
                  <c:v>Libere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4.701524199999994</c:v>
                </c:pt>
                <c:pt idx="1">
                  <c:v>64.132612600000002</c:v>
                </c:pt>
                <c:pt idx="2">
                  <c:v>63.644160200000002</c:v>
                </c:pt>
                <c:pt idx="3">
                  <c:v>62.5648938</c:v>
                </c:pt>
                <c:pt idx="4">
                  <c:v>62.309511800000003</c:v>
                </c:pt>
                <c:pt idx="5">
                  <c:v>62.198281399999999</c:v>
                </c:pt>
                <c:pt idx="6">
                  <c:v>61.559012000000003</c:v>
                </c:pt>
                <c:pt idx="7">
                  <c:v>60.321858900000002</c:v>
                </c:pt>
                <c:pt idx="8">
                  <c:v>60.227098900000001</c:v>
                </c:pt>
                <c:pt idx="9">
                  <c:v>60.0150419</c:v>
                </c:pt>
                <c:pt idx="10">
                  <c:v>59.712046299999997</c:v>
                </c:pt>
                <c:pt idx="11">
                  <c:v>59.7078712</c:v>
                </c:pt>
                <c:pt idx="12">
                  <c:v>58.6839941</c:v>
                </c:pt>
                <c:pt idx="13">
                  <c:v>57.636100200000001</c:v>
                </c:pt>
                <c:pt idx="14">
                  <c:v>57.1539136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0-436F-97B1-569334F9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B$2:$B$13</c:f>
              <c:numCache>
                <c:formatCode>#,##0</c:formatCode>
                <c:ptCount val="12"/>
                <c:pt idx="0">
                  <c:v>14224</c:v>
                </c:pt>
                <c:pt idx="1">
                  <c:v>22096</c:v>
                </c:pt>
                <c:pt idx="2">
                  <c:v>57015</c:v>
                </c:pt>
                <c:pt idx="3">
                  <c:v>83882</c:v>
                </c:pt>
                <c:pt idx="4">
                  <c:v>120144</c:v>
                </c:pt>
                <c:pt idx="5">
                  <c:v>147982</c:v>
                </c:pt>
                <c:pt idx="6">
                  <c:v>100231</c:v>
                </c:pt>
                <c:pt idx="7">
                  <c:v>53584</c:v>
                </c:pt>
                <c:pt idx="8">
                  <c:v>15587</c:v>
                </c:pt>
                <c:pt idx="9">
                  <c:v>20120</c:v>
                </c:pt>
                <c:pt idx="10">
                  <c:v>66195</c:v>
                </c:pt>
                <c:pt idx="11">
                  <c:v>192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B$2:$B$13</c:f>
              <c:numCache>
                <c:formatCode>#,##0</c:formatCode>
                <c:ptCount val="12"/>
                <c:pt idx="0">
                  <c:v>1550</c:v>
                </c:pt>
                <c:pt idx="1">
                  <c:v>10775</c:v>
                </c:pt>
                <c:pt idx="2">
                  <c:v>11676</c:v>
                </c:pt>
                <c:pt idx="3">
                  <c:v>29650</c:v>
                </c:pt>
                <c:pt idx="4">
                  <c:v>28958</c:v>
                </c:pt>
                <c:pt idx="5">
                  <c:v>104134</c:v>
                </c:pt>
                <c:pt idx="6">
                  <c:v>70608</c:v>
                </c:pt>
                <c:pt idx="7">
                  <c:v>41037</c:v>
                </c:pt>
                <c:pt idx="8">
                  <c:v>10498</c:v>
                </c:pt>
                <c:pt idx="9">
                  <c:v>4654</c:v>
                </c:pt>
                <c:pt idx="10">
                  <c:v>11905</c:v>
                </c:pt>
                <c:pt idx="11">
                  <c:v>22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A9D1AF-A322-4DDC-936B-94D227551E32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450" y="4777612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49688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D6F62-5E63-4E8B-AA69-5851462FB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1700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0188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1398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567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1.svg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1.svg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1.svg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1.svg"/><Relationship Id="rId4" Type="http://schemas.openxmlformats.org/officeDocument/2006/relationships/image" Target="../media/image1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8.tmp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CEB9BA-4054-4603-945D-A1EF09634E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505C839-E938-4833-8347-D2CB82AB40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B36554E-B24E-4BD8-875E-1AA52DD4F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7B3AD2A-FC6B-4131-B7A3-743336930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C13D6EC-72FC-4948-BFDF-DE48ABB08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1150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B115B94-F3C5-40F8-9AC5-07811EACC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B2EFD8-520F-4B08-9270-723635A682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419C64-73DA-4ED7-92EF-564A16F1D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00023CF-E4B0-41C6-8BF3-D03CF130D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6A99045-F4B1-46A5-A039-E453F3A55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54718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8912A6FA-536F-405B-B543-8ED88E2DD2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D6EEEBB-33A3-455F-98BB-29374C0033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23FB4AB-B0E8-4C0A-BAB9-20B80C6058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ADAF440-D292-45A2-967D-738537C0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2F2DB0-D97B-4684-BB8D-7642619F1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349048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5F0446E-2BA5-074F-9D5A-1DA860FC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D1C52D7-9D53-964E-AD7F-FCDE91C299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1434252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10B1-3D63-454C-8A55-F234CDB8A490}" type="datetime1"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14728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5FD45-C6FC-FA4E-8F73-BD321229A0A2}" type="datetime1"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4949EF-3906-7247-A998-646612F81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44C4C04-2844-7D47-AFA2-6CCB143D94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152769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A3417B-9DB1-6D4D-BC0C-5A2D93988509}" type="datetime1">
              <a:t>06.12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75421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8738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30492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381248"/>
            <a:ext cx="5157787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0492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81248"/>
            <a:ext cx="5183188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7D294-69E3-9D4D-93D4-2E238C326C15}" type="datetime1">
              <a:t>06.12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9824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966A-A054-844C-ADD4-DD683C9A6B44}" type="datetime1">
              <a:t>06.12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15837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6E48A-7B06-DD4E-B4F1-99FFA5BA3C4E}" type="datetime1">
              <a:t>06.12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09086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304925"/>
            <a:ext cx="6172200" cy="43195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5"/>
            <a:ext cx="3932237" cy="431958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99FE8-A97A-9040-BC1B-01299C18F4E1}" type="datetime1">
              <a:t>06.12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4B2FEFB-40EB-A242-879E-90E7A9ACB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7492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BF504D-1307-4C38-B3E6-C41FDB92C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EDB08F05-F28F-460B-94F3-EBE4A23D0A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8C62A6-7E82-492E-B6B1-6C8637FEF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93DA0D5-56CE-4DD6-8C1A-7CCA94416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95B101A-E5C5-4136-A56C-7FEE87ABA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0030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1304924"/>
            <a:ext cx="6172200" cy="431958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6"/>
            <a:ext cx="3932237" cy="4319588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1CB02-1686-5E4E-8C77-FF7AEFEA844F}" type="datetime1">
              <a:t>06.12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DA77E7-49D4-194B-BF48-C6879F899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4574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4D70B9-5AC9-DD4F-B4FA-247F1F891530}" type="datetime1"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51163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259388"/>
          </a:xfrm>
        </p:spPr>
        <p:txBody>
          <a:bodyPr vert="eaVert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259388"/>
          </a:xfrm>
        </p:spPr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80D57-1D93-2946-AFD0-6D29B9F3A147}" type="datetime1"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29424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47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5896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68254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0727476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76936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453349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504872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6462A3-4614-4CCF-B066-ED14F7851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3A9A065F-A4AE-46CD-8CA4-E86C2C9DBD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EC95BD3-67F6-4B1B-804E-C48336310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264C30-9A4B-4261-B882-CAF7C9861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9E76F8A-A8AC-4D9D-AA5B-7917B3B10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73454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8304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170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484879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88014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3184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34313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621529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28251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770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CC1D3C-3C45-4CDE-8C50-E9B54531E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CDDE7F67-DFE1-4955-A5EC-578B6D2345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07BCCAA2-482E-417A-BB45-47228BCC1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403773A-C9D4-4C39-95F3-76F9E89A5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20B03AC-2A32-4470-A086-A921220A2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D0128CD-27B6-4FCF-BE55-E570B38A6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6463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9EC43F7-4CE4-4D42-941A-E4BC3241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7423597C-D66C-416D-B6BF-FA406C61FF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7EE5280B-A5BD-4A51-A5D9-249AE953D2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0CF8BFCA-090B-4561-8E1A-D7426A78FC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>
            <a:extLst>
              <a:ext uri="{FF2B5EF4-FFF2-40B4-BE49-F238E27FC236}">
                <a16:creationId xmlns:a16="http://schemas.microsoft.com/office/drawing/2014/main" id="{213BB2F4-F03D-4261-A0C3-78AE02EE7F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9DEA5A8-9BE9-4937-B95A-6EEFDCB2A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72FA513E-9142-45F3-B525-297A1B230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9174F380-EE16-43EA-811B-17EB29DAC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8449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04B422-81D7-481C-903D-BAB87D09B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DA47B207-6EE8-4462-841C-55EFF3CD1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C25E343-B5B8-4B55-9DDE-AB5AA4FB4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4F32F3F1-C931-4867-B21E-9D323C88B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922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7DBEC7E7-E04C-46DC-A7DC-C606EB4E6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A1DC139F-B21F-418A-854A-1F23CEB31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2DF6473-2FF0-4356-A485-8BE066305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64750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D7083E-BB5E-4816-B292-BBBDFBD99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2EA17A9C-449F-44C2-8F73-5D77D797A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02D037AE-C6BA-4F6B-B05A-098AA7B13A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AB0551D-E99B-40EB-BCE7-60FE25B05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A31DD6C-30D4-4D32-B96B-50000C03B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28D9CD2-70DE-4358-954A-E3FCA931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183297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E753F86-29A7-45C4-B836-9DDBEE813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9AB6EFE1-3019-4953-A852-8F1E784A6C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320AF383-0FAC-428D-B633-F2C750B262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407AD49-78D1-4875-97D4-7193EB1C1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CBFD1B3-EFC4-46BD-A519-B1292B648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A87929F-8265-44A8-8A44-7EE299BBA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633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DE04B09-BE14-4E60-8073-0F7D5FCB1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F7DE8703-4F80-40B2-8893-EE8D971F7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7BB1138-4576-4962-887C-561E9A6F6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9C2005D-17A7-4B07-8A8E-9351123D3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39EDCC0-E801-427D-BD3F-073A1A68E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6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04926"/>
            <a:ext cx="10515600" cy="431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10600" y="6197543"/>
            <a:ext cx="1246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B073E4-06FD-6D40-9982-0E8CCC73F560}" type="datetime1"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187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14708" y="6187253"/>
            <a:ext cx="10390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513053-D514-8448-BD9B-6AC86BD996A2}" type="slidenum">
              <a:t>‹#›</a:t>
            </a:fld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964BFAD-E371-A44E-A2DA-B96F71D708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76539" y="5925500"/>
            <a:ext cx="1440000" cy="63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469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90000"/>
        </a:lnSpc>
        <a:spcBef>
          <a:spcPts val="1000"/>
        </a:spcBef>
        <a:buFont typeface="System Font Regular"/>
        <a:buChar char="–"/>
        <a:tabLst/>
        <a:defRPr sz="2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711200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4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068388" indent="-357188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4239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17795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pos="529">
          <p15:clr>
            <a:srgbClr val="F26B43"/>
          </p15:clr>
        </p15:guide>
        <p15:guide id="5" orient="horz" pos="3543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82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1809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94941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onemocneni-aktualne.mzcr.cz/covid-19/kraje/HKK" TargetMode="External"/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chart" Target="../charts/char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chart" Target="../charts/char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slideLayout" Target="../slideLayouts/slideLayout29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9742A18-5492-4B4E-B61F-49006AF7E37A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12BC6F6-7BA8-4F55-8619-68E4F90A1B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78800"/>
            <a:ext cx="9144000" cy="2250291"/>
          </a:xfrm>
        </p:spPr>
        <p:txBody>
          <a:bodyPr>
            <a:noAutofit/>
          </a:bodyPr>
          <a:lstStyle/>
          <a:p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řehled epidemické situace a stavu očkování</a:t>
            </a:r>
            <a:b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v Královéhradeckém kraji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6D649B9A-D1EE-41AE-A9D4-4B276E1A9D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5004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5675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alší opatření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82CFEE-D539-4425-84E1-B946E983CC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58241"/>
            <a:ext cx="10622280" cy="457754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800" b="1" dirty="0"/>
              <a:t>Monoklonální protilátky</a:t>
            </a:r>
          </a:p>
          <a:p>
            <a:r>
              <a:rPr lang="cs-CZ" sz="1800" dirty="0"/>
              <a:t>Podáno celkem </a:t>
            </a:r>
            <a:r>
              <a:rPr lang="cs-CZ" sz="1800" b="1" dirty="0"/>
              <a:t>1.365 dávek</a:t>
            </a:r>
            <a:r>
              <a:rPr lang="cs-CZ" sz="1800" dirty="0"/>
              <a:t>, zásoby jsou na cca 4 týdny</a:t>
            </a:r>
          </a:p>
          <a:p>
            <a:pPr marL="0" indent="0">
              <a:buNone/>
            </a:pPr>
            <a:r>
              <a:rPr lang="cs-CZ" sz="1800" b="1" dirty="0"/>
              <a:t>Testování </a:t>
            </a:r>
          </a:p>
          <a:p>
            <a:r>
              <a:rPr lang="cs-CZ" sz="1800" dirty="0"/>
              <a:t>Testy provádějí všechny nemocnice v Královéhradeckém kraji, které navýšily kapacitu až na 2 000 testů denně a ve vybraných městech působí také soukromé společnosti</a:t>
            </a:r>
          </a:p>
          <a:p>
            <a:r>
              <a:rPr lang="cs-CZ" sz="1800" b="1" dirty="0"/>
              <a:t>Navýšení kapacity </a:t>
            </a:r>
            <a:r>
              <a:rPr lang="cs-CZ" sz="1800" dirty="0"/>
              <a:t>testování v Rychnově nad Kněžnou a Jičíně na základě dohody s GHC GENETICS Praha</a:t>
            </a:r>
          </a:p>
          <a:p>
            <a:r>
              <a:rPr lang="cs-CZ" sz="1800" dirty="0"/>
              <a:t>Schválený je mobilní odběrový tým Armády ČR (ve Fakultní nemocnici HK a výjezd do ohnisek)</a:t>
            </a:r>
          </a:p>
          <a:p>
            <a:r>
              <a:rPr lang="cs-CZ" sz="1800" dirty="0"/>
              <a:t>Plán výjezdů má mobilní odběrový tým Hasičského záchranného sboru KHK, v případě více ohnisek je možnost krátkodobě nasadit až 3 MOT</a:t>
            </a:r>
          </a:p>
          <a:p>
            <a:pPr marL="0" indent="0">
              <a:buNone/>
            </a:pPr>
            <a:r>
              <a:rPr lang="cs-CZ" sz="1800" b="1" dirty="0"/>
              <a:t>Zajištění dostatečné kapacity lůžek následné péče</a:t>
            </a:r>
          </a:p>
          <a:p>
            <a:r>
              <a:rPr lang="cs-CZ" sz="1800" dirty="0" err="1"/>
              <a:t>Necovidoví</a:t>
            </a:r>
            <a:r>
              <a:rPr lang="cs-CZ" sz="1800" dirty="0"/>
              <a:t> pacienti jsou překládáni na doléčení i do následujících zařízení: </a:t>
            </a:r>
            <a:r>
              <a:rPr lang="cs-CZ" sz="1200" dirty="0"/>
              <a:t>Léčebna dlouhodobě nemocných Opočno, Léčebna pro dlouhodobě nemocné Hradec Králové, Sdružení ozdravoven a léčeben okresu Trutnov, </a:t>
            </a:r>
            <a:r>
              <a:rPr lang="cs-CZ" sz="1200" dirty="0" err="1"/>
              <a:t>Vividus</a:t>
            </a:r>
            <a:r>
              <a:rPr lang="cs-CZ" sz="1200" dirty="0"/>
              <a:t> East, s.r.o.</a:t>
            </a:r>
          </a:p>
          <a:p>
            <a:r>
              <a:rPr lang="cs-CZ" sz="1800" dirty="0"/>
              <a:t>Probíhají jednání s dalšími poskytovateli, </a:t>
            </a:r>
            <a:r>
              <a:rPr lang="cs-CZ" sz="1200" dirty="0"/>
              <a:t>např. Státní léčebné lázně Janské Lázně</a:t>
            </a:r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38436771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82AD3AE-FCB7-4B07-A813-EEE4970B4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lošné testování ve školách</a:t>
            </a:r>
            <a:endParaRPr lang="cs-CZ" sz="3600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9ECC2DF-D502-4E77-86CE-42F811434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749" y="5535780"/>
            <a:ext cx="1864043" cy="957095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69EAAAEE-CB84-4013-8EA5-14660094F1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sz="1600" dirty="0"/>
          </a:p>
          <a:p>
            <a:r>
              <a:rPr lang="cs-CZ" sz="1600" dirty="0"/>
              <a:t>Pozitivita testů žáků: 0,95 %</a:t>
            </a:r>
          </a:p>
          <a:p>
            <a:r>
              <a:rPr lang="cs-CZ" sz="1600" dirty="0">
                <a:ea typeface="Calibri" panose="020F0502020204030204" pitchFamily="34" charset="0"/>
              </a:rPr>
              <a:t>PCR testy nejsou konfirmačními testy po pozitivních antigenních testech, ale testy PCR provedené místo antigenních</a:t>
            </a:r>
            <a:endParaRPr lang="cs-CZ" sz="1600" dirty="0"/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9A6A9FA7-78A7-4FC7-8D0A-5E82F6A8A0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0411510"/>
              </p:ext>
            </p:extLst>
          </p:nvPr>
        </p:nvGraphicFramePr>
        <p:xfrm>
          <a:off x="933305" y="2131328"/>
          <a:ext cx="9859204" cy="18699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30620">
                  <a:extLst>
                    <a:ext uri="{9D8B030D-6E8A-4147-A177-3AD203B41FA5}">
                      <a16:colId xmlns:a16="http://schemas.microsoft.com/office/drawing/2014/main" val="1536309239"/>
                    </a:ext>
                  </a:extLst>
                </a:gridCol>
                <a:gridCol w="1784180">
                  <a:extLst>
                    <a:ext uri="{9D8B030D-6E8A-4147-A177-3AD203B41FA5}">
                      <a16:colId xmlns:a16="http://schemas.microsoft.com/office/drawing/2014/main" val="3533910113"/>
                    </a:ext>
                  </a:extLst>
                </a:gridCol>
                <a:gridCol w="1908313">
                  <a:extLst>
                    <a:ext uri="{9D8B030D-6E8A-4147-A177-3AD203B41FA5}">
                      <a16:colId xmlns:a16="http://schemas.microsoft.com/office/drawing/2014/main" val="2829537672"/>
                    </a:ext>
                  </a:extLst>
                </a:gridCol>
                <a:gridCol w="1934850">
                  <a:extLst>
                    <a:ext uri="{9D8B030D-6E8A-4147-A177-3AD203B41FA5}">
                      <a16:colId xmlns:a16="http://schemas.microsoft.com/office/drawing/2014/main" val="3246064270"/>
                    </a:ext>
                  </a:extLst>
                </a:gridCol>
                <a:gridCol w="1901241">
                  <a:extLst>
                    <a:ext uri="{9D8B030D-6E8A-4147-A177-3AD203B41FA5}">
                      <a16:colId xmlns:a16="http://schemas.microsoft.com/office/drawing/2014/main" val="636452412"/>
                    </a:ext>
                  </a:extLst>
                </a:gridCol>
              </a:tblGrid>
              <a:tr h="1028481">
                <a:tc>
                  <a:txBody>
                    <a:bodyPr/>
                    <a:lstStyle/>
                    <a:p>
                      <a:pPr lvl="1"/>
                      <a:r>
                        <a:rPr lang="cs-CZ" sz="1700" dirty="0">
                          <a:effectLst/>
                        </a:rPr>
                        <a:t>29. 11. 2021</a:t>
                      </a:r>
                    </a:p>
                    <a:p>
                      <a:pPr lvl="1"/>
                      <a:r>
                        <a:rPr lang="cs-CZ" sz="1700" dirty="0">
                          <a:effectLst/>
                        </a:rPr>
                        <a:t>Druh testů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Testovaných žáků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Z toho pozitivních testů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Testovaných zaměstnanců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Z toho pozitivních testů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 anchor="ctr"/>
                </a:tc>
                <a:extLst>
                  <a:ext uri="{0D108BD9-81ED-4DB2-BD59-A6C34878D82A}">
                    <a16:rowId xmlns:a16="http://schemas.microsoft.com/office/drawing/2014/main" val="644430642"/>
                  </a:ext>
                </a:extLst>
              </a:tr>
              <a:tr h="280495">
                <a:tc>
                  <a:txBody>
                    <a:bodyPr/>
                    <a:lstStyle/>
                    <a:p>
                      <a:pPr lvl="1"/>
                      <a:r>
                        <a:rPr lang="cs-CZ" sz="1700" dirty="0">
                          <a:effectLst/>
                        </a:rPr>
                        <a:t>Antigenní testy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40856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389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2007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18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extLst>
                  <a:ext uri="{0D108BD9-81ED-4DB2-BD59-A6C34878D82A}">
                    <a16:rowId xmlns:a16="http://schemas.microsoft.com/office/drawing/2014/main" val="3541526795"/>
                  </a:ext>
                </a:extLst>
              </a:tr>
              <a:tr h="280495">
                <a:tc>
                  <a:txBody>
                    <a:bodyPr/>
                    <a:lstStyle/>
                    <a:p>
                      <a:pPr lvl="1"/>
                      <a:r>
                        <a:rPr lang="cs-CZ" sz="1700" dirty="0">
                          <a:effectLst/>
                        </a:rPr>
                        <a:t>PCR testy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115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2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38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1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extLst>
                  <a:ext uri="{0D108BD9-81ED-4DB2-BD59-A6C34878D82A}">
                    <a16:rowId xmlns:a16="http://schemas.microsoft.com/office/drawing/2014/main" val="367017978"/>
                  </a:ext>
                </a:extLst>
              </a:tr>
              <a:tr h="280495">
                <a:tc>
                  <a:txBody>
                    <a:bodyPr/>
                    <a:lstStyle/>
                    <a:p>
                      <a:pPr lvl="1"/>
                      <a:r>
                        <a:rPr lang="cs-CZ" sz="1700" dirty="0">
                          <a:effectLst/>
                        </a:rPr>
                        <a:t>Celkem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40971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391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2045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19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extLst>
                  <a:ext uri="{0D108BD9-81ED-4DB2-BD59-A6C34878D82A}">
                    <a16:rowId xmlns:a16="http://schemas.microsoft.com/office/drawing/2014/main" val="28928288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63797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82AD3AE-FCB7-4B07-A813-EEE4970B4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pobytových službách</a:t>
            </a:r>
            <a:endParaRPr lang="cs-CZ" sz="3600" dirty="0"/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4F51BD7B-D78F-45A1-BBB7-9FE5A6EFF5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dirty="0"/>
              <a:t>Počet pozitivních klientů: 38 z 3.250 (1,2 %)</a:t>
            </a:r>
          </a:p>
          <a:p>
            <a:r>
              <a:rPr lang="cs-CZ" dirty="0"/>
              <a:t>Počet pozitivních pracovníků: 36 z 2.465 (1,5 %)</a:t>
            </a:r>
          </a:p>
          <a:p>
            <a:r>
              <a:rPr lang="cs-CZ" dirty="0"/>
              <a:t>Počet pracovníků v karanténě: 5 z 2.465 (0,2 %)</a:t>
            </a:r>
          </a:p>
          <a:p>
            <a:r>
              <a:rPr lang="cs-CZ" dirty="0"/>
              <a:t>Počet zařízení s nákazou: 18 z 53 (34,0 %)</a:t>
            </a:r>
          </a:p>
          <a:p>
            <a:r>
              <a:rPr lang="cs-CZ" dirty="0"/>
              <a:t>Aktuální zákaz návštěv: 8 z 53 (15,1 %) </a:t>
            </a:r>
            <a:r>
              <a:rPr lang="cs-CZ" sz="1400" b="1" dirty="0"/>
              <a:t> Jsou to tato zařízení: </a:t>
            </a:r>
            <a:r>
              <a:rPr lang="cs-CZ" sz="1400" dirty="0"/>
              <a:t> Domov U </a:t>
            </a:r>
            <a:r>
              <a:rPr lang="cs-CZ" sz="1400" dirty="0" err="1"/>
              <a:t>Biřičky</a:t>
            </a:r>
            <a:r>
              <a:rPr lang="cs-CZ" sz="1400" dirty="0"/>
              <a:t>, DS Pilníkov, Domov Dědina,  GC Týniště nad Orlicí, SSM Nová Paka – domov pro seniory, DD Náchod, DD Humburky, Domov Jitřenka Opočno</a:t>
            </a:r>
          </a:p>
          <a:p>
            <a:pPr lvl="0"/>
            <a:r>
              <a:rPr lang="cs-CZ" dirty="0">
                <a:solidFill>
                  <a:prstClr val="black"/>
                </a:solidFill>
              </a:rPr>
              <a:t>Očkování: dokončené očkování má 95 % klientů a 73 % pracovníků, posilující 3. dávka aplikována u 65 % klientů a 34 % pracovníků</a:t>
            </a:r>
          </a:p>
          <a:p>
            <a:pPr marL="0" indent="0">
              <a:buNone/>
            </a:pPr>
            <a:endParaRPr lang="cs-CZ" sz="1400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9ECC2DF-D502-4E77-86CE-42F811434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749" y="5535780"/>
            <a:ext cx="1864043" cy="95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8916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podání</a:t>
            </a:r>
            <a:r>
              <a:rPr lang="cs-CZ" dirty="0"/>
              <a:t>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223D-04DC-459A-A7C2-69EB1368F112}"/>
              </a:ext>
            </a:extLst>
          </p:cNvPr>
          <p:cNvGraphicFramePr/>
          <p:nvPr>
            <p:extLst/>
          </p:nvPr>
        </p:nvGraphicFramePr>
        <p:xfrm>
          <a:off x="172061" y="1443642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D7DAEF-8678-4239-947C-9AB224285FDF}"/>
              </a:ext>
            </a:extLst>
          </p:cNvPr>
          <p:cNvSpPr txBox="1"/>
          <p:nvPr/>
        </p:nvSpPr>
        <p:spPr>
          <a:xfrm>
            <a:off x="6890411" y="1117535"/>
            <a:ext cx="45143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sp>
        <p:nvSpPr>
          <p:cNvPr id="181" name="Freeform 224">
            <a:extLst>
              <a:ext uri="{FF2B5EF4-FFF2-40B4-BE49-F238E27FC236}">
                <a16:creationId xmlns:a16="http://schemas.microsoft.com/office/drawing/2014/main" id="{0B6A9104-1908-4D50-B347-AA4A8A6EBA01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 225">
            <a:extLst>
              <a:ext uri="{FF2B5EF4-FFF2-40B4-BE49-F238E27FC236}">
                <a16:creationId xmlns:a16="http://schemas.microsoft.com/office/drawing/2014/main" id="{77651468-2EC0-4490-8E58-577A93E48F00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 226">
            <a:extLst>
              <a:ext uri="{FF2B5EF4-FFF2-40B4-BE49-F238E27FC236}">
                <a16:creationId xmlns:a16="http://schemas.microsoft.com/office/drawing/2014/main" id="{89D248F1-C874-4693-9ECE-731FEE2F3933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 227">
            <a:extLst>
              <a:ext uri="{FF2B5EF4-FFF2-40B4-BE49-F238E27FC236}">
                <a16:creationId xmlns:a16="http://schemas.microsoft.com/office/drawing/2014/main" id="{F4059F66-8CD6-44A2-880D-54A4AF5B720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228">
            <a:extLst>
              <a:ext uri="{FF2B5EF4-FFF2-40B4-BE49-F238E27FC236}">
                <a16:creationId xmlns:a16="http://schemas.microsoft.com/office/drawing/2014/main" id="{2FFAD3F4-E4A8-49E8-91E8-164670E05B62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229">
            <a:extLst>
              <a:ext uri="{FF2B5EF4-FFF2-40B4-BE49-F238E27FC236}">
                <a16:creationId xmlns:a16="http://schemas.microsoft.com/office/drawing/2014/main" id="{F77812FB-07FC-4658-AAE3-6766400F404F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230">
            <a:extLst>
              <a:ext uri="{FF2B5EF4-FFF2-40B4-BE49-F238E27FC236}">
                <a16:creationId xmlns:a16="http://schemas.microsoft.com/office/drawing/2014/main" id="{52034A59-76D4-4593-977D-1D3C86D03EFB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231">
            <a:extLst>
              <a:ext uri="{FF2B5EF4-FFF2-40B4-BE49-F238E27FC236}">
                <a16:creationId xmlns:a16="http://schemas.microsoft.com/office/drawing/2014/main" id="{5F428FC3-BD8F-4155-97CC-6C212AD56DC2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232">
            <a:extLst>
              <a:ext uri="{FF2B5EF4-FFF2-40B4-BE49-F238E27FC236}">
                <a16:creationId xmlns:a16="http://schemas.microsoft.com/office/drawing/2014/main" id="{D4AFB935-819F-4021-9924-80004082D57E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233">
            <a:extLst>
              <a:ext uri="{FF2B5EF4-FFF2-40B4-BE49-F238E27FC236}">
                <a16:creationId xmlns:a16="http://schemas.microsoft.com/office/drawing/2014/main" id="{9B0D2B55-1D79-418A-8909-34CA805DA69B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 234">
            <a:extLst>
              <a:ext uri="{FF2B5EF4-FFF2-40B4-BE49-F238E27FC236}">
                <a16:creationId xmlns:a16="http://schemas.microsoft.com/office/drawing/2014/main" id="{FE3E5A4D-1D4D-4BE7-9CE5-352DBCB67048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 235">
            <a:extLst>
              <a:ext uri="{FF2B5EF4-FFF2-40B4-BE49-F238E27FC236}">
                <a16:creationId xmlns:a16="http://schemas.microsoft.com/office/drawing/2014/main" id="{F0F529E0-BFD8-4154-8424-09F78282855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 236">
            <a:extLst>
              <a:ext uri="{FF2B5EF4-FFF2-40B4-BE49-F238E27FC236}">
                <a16:creationId xmlns:a16="http://schemas.microsoft.com/office/drawing/2014/main" id="{63C9A6B6-36AF-4D4F-B558-44F17C080A27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 237">
            <a:extLst>
              <a:ext uri="{FF2B5EF4-FFF2-40B4-BE49-F238E27FC236}">
                <a16:creationId xmlns:a16="http://schemas.microsoft.com/office/drawing/2014/main" id="{A6E4D3FA-AEE9-418F-B92C-A9C8B8891741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 238">
            <a:extLst>
              <a:ext uri="{FF2B5EF4-FFF2-40B4-BE49-F238E27FC236}">
                <a16:creationId xmlns:a16="http://schemas.microsoft.com/office/drawing/2014/main" id="{9382DC58-EC6D-4D0B-B194-441D40F06CBB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 239">
            <a:extLst>
              <a:ext uri="{FF2B5EF4-FFF2-40B4-BE49-F238E27FC236}">
                <a16:creationId xmlns:a16="http://schemas.microsoft.com/office/drawing/2014/main" id="{4B18921B-7A82-42F4-848C-9E01EE238E41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 240">
            <a:extLst>
              <a:ext uri="{FF2B5EF4-FFF2-40B4-BE49-F238E27FC236}">
                <a16:creationId xmlns:a16="http://schemas.microsoft.com/office/drawing/2014/main" id="{6AE03ECD-B257-4DB3-8854-CB10B1856F26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 241">
            <a:extLst>
              <a:ext uri="{FF2B5EF4-FFF2-40B4-BE49-F238E27FC236}">
                <a16:creationId xmlns:a16="http://schemas.microsoft.com/office/drawing/2014/main" id="{F849C224-45A7-40C4-9452-50C219A8820E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 242">
            <a:extLst>
              <a:ext uri="{FF2B5EF4-FFF2-40B4-BE49-F238E27FC236}">
                <a16:creationId xmlns:a16="http://schemas.microsoft.com/office/drawing/2014/main" id="{F2D9EA48-20C4-4926-B1A0-FB290B6713B4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 243">
            <a:extLst>
              <a:ext uri="{FF2B5EF4-FFF2-40B4-BE49-F238E27FC236}">
                <a16:creationId xmlns:a16="http://schemas.microsoft.com/office/drawing/2014/main" id="{6C759338-5D7D-414F-B4D0-ABB9CAEA73CE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 244">
            <a:extLst>
              <a:ext uri="{FF2B5EF4-FFF2-40B4-BE49-F238E27FC236}">
                <a16:creationId xmlns:a16="http://schemas.microsoft.com/office/drawing/2014/main" id="{E9CF9EC8-B0FA-426A-A878-8DF7D8A389D6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245">
            <a:extLst>
              <a:ext uri="{FF2B5EF4-FFF2-40B4-BE49-F238E27FC236}">
                <a16:creationId xmlns:a16="http://schemas.microsoft.com/office/drawing/2014/main" id="{7A416F64-A9C2-4D59-A4FB-D6B4E471835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 246">
            <a:extLst>
              <a:ext uri="{FF2B5EF4-FFF2-40B4-BE49-F238E27FC236}">
                <a16:creationId xmlns:a16="http://schemas.microsoft.com/office/drawing/2014/main" id="{2B87EEA1-2F57-4D64-BD19-1514A9AA6441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 247">
            <a:extLst>
              <a:ext uri="{FF2B5EF4-FFF2-40B4-BE49-F238E27FC236}">
                <a16:creationId xmlns:a16="http://schemas.microsoft.com/office/drawing/2014/main" id="{0206BF93-4D86-4FC5-B5A1-F4D646721936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 248">
            <a:extLst>
              <a:ext uri="{FF2B5EF4-FFF2-40B4-BE49-F238E27FC236}">
                <a16:creationId xmlns:a16="http://schemas.microsoft.com/office/drawing/2014/main" id="{7448FBF9-927B-4132-9C60-EF56D0333FA5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 249">
            <a:extLst>
              <a:ext uri="{FF2B5EF4-FFF2-40B4-BE49-F238E27FC236}">
                <a16:creationId xmlns:a16="http://schemas.microsoft.com/office/drawing/2014/main" id="{3FA0F636-FFAB-441D-9062-3180FBFF6EBA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 250">
            <a:extLst>
              <a:ext uri="{FF2B5EF4-FFF2-40B4-BE49-F238E27FC236}">
                <a16:creationId xmlns:a16="http://schemas.microsoft.com/office/drawing/2014/main" id="{2728568C-3436-4C9D-B9C1-825D9E567A5D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 251">
            <a:extLst>
              <a:ext uri="{FF2B5EF4-FFF2-40B4-BE49-F238E27FC236}">
                <a16:creationId xmlns:a16="http://schemas.microsoft.com/office/drawing/2014/main" id="{E6CF9038-2C80-41A6-94BC-50BBD1CAA881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252">
            <a:extLst>
              <a:ext uri="{FF2B5EF4-FFF2-40B4-BE49-F238E27FC236}">
                <a16:creationId xmlns:a16="http://schemas.microsoft.com/office/drawing/2014/main" id="{2DD733FA-38B9-4BA2-B9E6-82EBEE85F868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253">
            <a:extLst>
              <a:ext uri="{FF2B5EF4-FFF2-40B4-BE49-F238E27FC236}">
                <a16:creationId xmlns:a16="http://schemas.microsoft.com/office/drawing/2014/main" id="{3C9B9565-D3E8-4174-A913-091D9A1C451B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254">
            <a:extLst>
              <a:ext uri="{FF2B5EF4-FFF2-40B4-BE49-F238E27FC236}">
                <a16:creationId xmlns:a16="http://schemas.microsoft.com/office/drawing/2014/main" id="{CE1082C9-C35F-408D-9C85-62A4117AF5BB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255">
            <a:extLst>
              <a:ext uri="{FF2B5EF4-FFF2-40B4-BE49-F238E27FC236}">
                <a16:creationId xmlns:a16="http://schemas.microsoft.com/office/drawing/2014/main" id="{8CF1A89A-D5E4-44D1-A81E-39325787283C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 256">
            <a:extLst>
              <a:ext uri="{FF2B5EF4-FFF2-40B4-BE49-F238E27FC236}">
                <a16:creationId xmlns:a16="http://schemas.microsoft.com/office/drawing/2014/main" id="{8B0CA435-ACC7-4FD5-9C9C-FA1262A2C323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 257">
            <a:extLst>
              <a:ext uri="{FF2B5EF4-FFF2-40B4-BE49-F238E27FC236}">
                <a16:creationId xmlns:a16="http://schemas.microsoft.com/office/drawing/2014/main" id="{BC216BD6-3964-4876-A107-C006F84112DA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 258">
            <a:extLst>
              <a:ext uri="{FF2B5EF4-FFF2-40B4-BE49-F238E27FC236}">
                <a16:creationId xmlns:a16="http://schemas.microsoft.com/office/drawing/2014/main" id="{0AEB6FB7-3F4A-451A-8820-3832459A130A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 259">
            <a:extLst>
              <a:ext uri="{FF2B5EF4-FFF2-40B4-BE49-F238E27FC236}">
                <a16:creationId xmlns:a16="http://schemas.microsoft.com/office/drawing/2014/main" id="{6FAEF2CB-4523-46E6-BF8A-1E7545E30549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 260">
            <a:extLst>
              <a:ext uri="{FF2B5EF4-FFF2-40B4-BE49-F238E27FC236}">
                <a16:creationId xmlns:a16="http://schemas.microsoft.com/office/drawing/2014/main" id="{0239DF2D-150D-47F7-81D0-C02ADFCCC09E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 261">
            <a:extLst>
              <a:ext uri="{FF2B5EF4-FFF2-40B4-BE49-F238E27FC236}">
                <a16:creationId xmlns:a16="http://schemas.microsoft.com/office/drawing/2014/main" id="{A6B15975-9BF5-497B-8828-F7F96DDB9678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 262">
            <a:extLst>
              <a:ext uri="{FF2B5EF4-FFF2-40B4-BE49-F238E27FC236}">
                <a16:creationId xmlns:a16="http://schemas.microsoft.com/office/drawing/2014/main" id="{D6FE1D06-324E-4538-B42F-50E43DF47E8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 263">
            <a:extLst>
              <a:ext uri="{FF2B5EF4-FFF2-40B4-BE49-F238E27FC236}">
                <a16:creationId xmlns:a16="http://schemas.microsoft.com/office/drawing/2014/main" id="{0E85BB07-8A3B-42F3-BF00-734A1D005C45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315397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 264">
            <a:extLst>
              <a:ext uri="{FF2B5EF4-FFF2-40B4-BE49-F238E27FC236}">
                <a16:creationId xmlns:a16="http://schemas.microsoft.com/office/drawing/2014/main" id="{72E897BA-5AC2-4D2A-8023-EE4F9FBC9327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 265">
            <a:extLst>
              <a:ext uri="{FF2B5EF4-FFF2-40B4-BE49-F238E27FC236}">
                <a16:creationId xmlns:a16="http://schemas.microsoft.com/office/drawing/2014/main" id="{8FB11F28-B0D8-47C1-938F-A2AE9BC0E266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 266">
            <a:extLst>
              <a:ext uri="{FF2B5EF4-FFF2-40B4-BE49-F238E27FC236}">
                <a16:creationId xmlns:a16="http://schemas.microsoft.com/office/drawing/2014/main" id="{A8EA0E96-2F9D-4E52-8268-591498E5BC7D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 267">
            <a:extLst>
              <a:ext uri="{FF2B5EF4-FFF2-40B4-BE49-F238E27FC236}">
                <a16:creationId xmlns:a16="http://schemas.microsoft.com/office/drawing/2014/main" id="{F25634BD-D69E-473C-B079-44087595D35B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 268">
            <a:extLst>
              <a:ext uri="{FF2B5EF4-FFF2-40B4-BE49-F238E27FC236}">
                <a16:creationId xmlns:a16="http://schemas.microsoft.com/office/drawing/2014/main" id="{A703C9E0-01E8-404E-9DA1-698768E29AC9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 269">
            <a:extLst>
              <a:ext uri="{FF2B5EF4-FFF2-40B4-BE49-F238E27FC236}">
                <a16:creationId xmlns:a16="http://schemas.microsoft.com/office/drawing/2014/main" id="{A61F8EFC-E525-41A8-8291-BFAB76324FAA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 270">
            <a:extLst>
              <a:ext uri="{FF2B5EF4-FFF2-40B4-BE49-F238E27FC236}">
                <a16:creationId xmlns:a16="http://schemas.microsoft.com/office/drawing/2014/main" id="{9E37A2F5-BFCC-451E-9C36-41F9544A97D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 271">
            <a:extLst>
              <a:ext uri="{FF2B5EF4-FFF2-40B4-BE49-F238E27FC236}">
                <a16:creationId xmlns:a16="http://schemas.microsoft.com/office/drawing/2014/main" id="{74AF8986-15FE-4DEA-AD57-6011920532E4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 272">
            <a:extLst>
              <a:ext uri="{FF2B5EF4-FFF2-40B4-BE49-F238E27FC236}">
                <a16:creationId xmlns:a16="http://schemas.microsoft.com/office/drawing/2014/main" id="{082990D4-F3F4-4E1F-A3DD-DF4D8F30C26D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 273">
            <a:extLst>
              <a:ext uri="{FF2B5EF4-FFF2-40B4-BE49-F238E27FC236}">
                <a16:creationId xmlns:a16="http://schemas.microsoft.com/office/drawing/2014/main" id="{A4F6EA75-4F6B-4787-B71F-E5878E3A0297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 274">
            <a:extLst>
              <a:ext uri="{FF2B5EF4-FFF2-40B4-BE49-F238E27FC236}">
                <a16:creationId xmlns:a16="http://schemas.microsoft.com/office/drawing/2014/main" id="{5EA7C0AA-55AE-4DBA-81B1-D0BA181F55DA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 275">
            <a:extLst>
              <a:ext uri="{FF2B5EF4-FFF2-40B4-BE49-F238E27FC236}">
                <a16:creationId xmlns:a16="http://schemas.microsoft.com/office/drawing/2014/main" id="{9CF13C67-4633-4241-AA47-4298CC15437A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 276">
            <a:extLst>
              <a:ext uri="{FF2B5EF4-FFF2-40B4-BE49-F238E27FC236}">
                <a16:creationId xmlns:a16="http://schemas.microsoft.com/office/drawing/2014/main" id="{4A155FF8-F79B-47E2-9E26-92BA2E00F991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 277">
            <a:extLst>
              <a:ext uri="{FF2B5EF4-FFF2-40B4-BE49-F238E27FC236}">
                <a16:creationId xmlns:a16="http://schemas.microsoft.com/office/drawing/2014/main" id="{1F8935AB-3A30-41C8-96CC-C7D71B9DD30F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 278">
            <a:extLst>
              <a:ext uri="{FF2B5EF4-FFF2-40B4-BE49-F238E27FC236}">
                <a16:creationId xmlns:a16="http://schemas.microsoft.com/office/drawing/2014/main" id="{F86E65A0-0A2C-4CC7-B2F3-947E0D4242C2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 279">
            <a:extLst>
              <a:ext uri="{FF2B5EF4-FFF2-40B4-BE49-F238E27FC236}">
                <a16:creationId xmlns:a16="http://schemas.microsoft.com/office/drawing/2014/main" id="{44EFCD4A-45DE-410A-A3C4-B972FAF93F0A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 280">
            <a:extLst>
              <a:ext uri="{FF2B5EF4-FFF2-40B4-BE49-F238E27FC236}">
                <a16:creationId xmlns:a16="http://schemas.microsoft.com/office/drawing/2014/main" id="{54478A0B-92C7-4C7C-985F-89EBB8B53B8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 281">
            <a:extLst>
              <a:ext uri="{FF2B5EF4-FFF2-40B4-BE49-F238E27FC236}">
                <a16:creationId xmlns:a16="http://schemas.microsoft.com/office/drawing/2014/main" id="{9F5AD7C4-6623-4CB5-A55F-4B6DDFA9337C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Freeform 282">
            <a:extLst>
              <a:ext uri="{FF2B5EF4-FFF2-40B4-BE49-F238E27FC236}">
                <a16:creationId xmlns:a16="http://schemas.microsoft.com/office/drawing/2014/main" id="{9A809131-3D8C-4483-8E72-095B1A36DDEA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reeform 283">
            <a:extLst>
              <a:ext uri="{FF2B5EF4-FFF2-40B4-BE49-F238E27FC236}">
                <a16:creationId xmlns:a16="http://schemas.microsoft.com/office/drawing/2014/main" id="{05D02C98-11ED-443F-93A8-3C18DAF8E1F0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Freeform 284">
            <a:extLst>
              <a:ext uri="{FF2B5EF4-FFF2-40B4-BE49-F238E27FC236}">
                <a16:creationId xmlns:a16="http://schemas.microsoft.com/office/drawing/2014/main" id="{1CB6C04B-6EE9-4766-AAD1-94E024D85B73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2" name="Freeform 285">
            <a:extLst>
              <a:ext uri="{FF2B5EF4-FFF2-40B4-BE49-F238E27FC236}">
                <a16:creationId xmlns:a16="http://schemas.microsoft.com/office/drawing/2014/main" id="{08A93988-5B41-411B-A655-B945FFA7C986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3" name="Freeform 286">
            <a:extLst>
              <a:ext uri="{FF2B5EF4-FFF2-40B4-BE49-F238E27FC236}">
                <a16:creationId xmlns:a16="http://schemas.microsoft.com/office/drawing/2014/main" id="{8724B12F-6731-4838-ACEE-65D95324E650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Freeform 287">
            <a:extLst>
              <a:ext uri="{FF2B5EF4-FFF2-40B4-BE49-F238E27FC236}">
                <a16:creationId xmlns:a16="http://schemas.microsoft.com/office/drawing/2014/main" id="{F94AEE6A-2E40-4982-BABA-35028205E985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Freeform 288">
            <a:extLst>
              <a:ext uri="{FF2B5EF4-FFF2-40B4-BE49-F238E27FC236}">
                <a16:creationId xmlns:a16="http://schemas.microsoft.com/office/drawing/2014/main" id="{F5124FB5-1020-4708-90B7-B38F35C8A667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Freeform 289">
            <a:extLst>
              <a:ext uri="{FF2B5EF4-FFF2-40B4-BE49-F238E27FC236}">
                <a16:creationId xmlns:a16="http://schemas.microsoft.com/office/drawing/2014/main" id="{463EE6D5-0306-436E-9E9F-1BE32A367BFC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7" name="Freeform 290">
            <a:extLst>
              <a:ext uri="{FF2B5EF4-FFF2-40B4-BE49-F238E27FC236}">
                <a16:creationId xmlns:a16="http://schemas.microsoft.com/office/drawing/2014/main" id="{B2DAB78F-F125-437E-9EFA-DC3D3F09042B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Freeform 291">
            <a:extLst>
              <a:ext uri="{FF2B5EF4-FFF2-40B4-BE49-F238E27FC236}">
                <a16:creationId xmlns:a16="http://schemas.microsoft.com/office/drawing/2014/main" id="{A4DFD73F-B4C1-4923-A898-65A921BAE8A9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Freeform 292">
            <a:extLst>
              <a:ext uri="{FF2B5EF4-FFF2-40B4-BE49-F238E27FC236}">
                <a16:creationId xmlns:a16="http://schemas.microsoft.com/office/drawing/2014/main" id="{0BFB0321-78B8-4AFC-B7BC-51A36D2A18F9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0" name="Freeform 293">
            <a:extLst>
              <a:ext uri="{FF2B5EF4-FFF2-40B4-BE49-F238E27FC236}">
                <a16:creationId xmlns:a16="http://schemas.microsoft.com/office/drawing/2014/main" id="{0162E864-9FAE-47BE-9CB3-0153C4C77351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ctangle 294">
            <a:extLst>
              <a:ext uri="{FF2B5EF4-FFF2-40B4-BE49-F238E27FC236}">
                <a16:creationId xmlns:a16="http://schemas.microsoft.com/office/drawing/2014/main" id="{C28D643E-EE62-4E3C-8116-CD34AA13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743" y="4658674"/>
            <a:ext cx="3342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C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2" name="Rectangle 295">
            <a:extLst>
              <a:ext uri="{FF2B5EF4-FFF2-40B4-BE49-F238E27FC236}">
                <a16:creationId xmlns:a16="http://schemas.microsoft.com/office/drawing/2014/main" id="{D32E63CA-123B-424D-8D10-1741A98CE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1844" y="5609045"/>
            <a:ext cx="326653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HC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3" name="Rectangle 296">
            <a:extLst>
              <a:ext uri="{FF2B5EF4-FFF2-40B4-BE49-F238E27FC236}">
                <a16:creationId xmlns:a16="http://schemas.microsoft.com/office/drawing/2014/main" id="{BA08BA65-FA7B-4BE3-B75B-C40EBD178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1615" y="4929613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4" name="Rectangle 297">
            <a:extLst>
              <a:ext uri="{FF2B5EF4-FFF2-40B4-BE49-F238E27FC236}">
                <a16:creationId xmlns:a16="http://schemas.microsoft.com/office/drawing/2014/main" id="{879AE9DB-9E6F-465B-81C7-754B6797D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548" y="5586119"/>
            <a:ext cx="324960" cy="19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M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5" name="Rectangle 298">
            <a:extLst>
              <a:ext uri="{FF2B5EF4-FFF2-40B4-BE49-F238E27FC236}">
                <a16:creationId xmlns:a16="http://schemas.microsoft.com/office/drawing/2014/main" id="{943662ED-FDBA-4F9B-8CA5-9CA452771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453" y="5146365"/>
            <a:ext cx="3304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YS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" name="Rectangle 299">
            <a:extLst>
              <a:ext uri="{FF2B5EF4-FFF2-40B4-BE49-F238E27FC236}">
                <a16:creationId xmlns:a16="http://schemas.microsoft.com/office/drawing/2014/main" id="{1CAD1657-3C71-431E-8EEB-C76D9638C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5071" y="5367284"/>
            <a:ext cx="226000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7" name="Rectangle 300">
            <a:extLst>
              <a:ext uri="{FF2B5EF4-FFF2-40B4-BE49-F238E27FC236}">
                <a16:creationId xmlns:a16="http://schemas.microsoft.com/office/drawing/2014/main" id="{40D68B8A-61C7-45E5-88C6-8D505994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184" y="3674956"/>
            <a:ext cx="239292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8" name="Rectangle 301">
            <a:extLst>
              <a:ext uri="{FF2B5EF4-FFF2-40B4-BE49-F238E27FC236}">
                <a16:creationId xmlns:a16="http://schemas.microsoft.com/office/drawing/2014/main" id="{A7934045-FC72-49D0-848D-9FFC3A977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6262" y="4539877"/>
            <a:ext cx="35324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SK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9" name="Rectangle 302">
            <a:extLst>
              <a:ext uri="{FF2B5EF4-FFF2-40B4-BE49-F238E27FC236}">
                <a16:creationId xmlns:a16="http://schemas.microsoft.com/office/drawing/2014/main" id="{62583F7F-B66A-4E21-8F46-70740F68C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3225" y="4917108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0" name="Rectangle 303">
            <a:extLst>
              <a:ext uri="{FF2B5EF4-FFF2-40B4-BE49-F238E27FC236}">
                <a16:creationId xmlns:a16="http://schemas.microsoft.com/office/drawing/2014/main" id="{9B850361-0A99-41C5-9F6A-992542928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2256" y="447318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1" name="Rectangle 304">
            <a:extLst>
              <a:ext uri="{FF2B5EF4-FFF2-40B4-BE49-F238E27FC236}">
                <a16:creationId xmlns:a16="http://schemas.microsoft.com/office/drawing/2014/main" id="{2729B6C3-6722-4756-80EF-C4E3381A0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0524" y="3847923"/>
            <a:ext cx="252588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K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" name="Rectangle 305">
            <a:extLst>
              <a:ext uri="{FF2B5EF4-FFF2-40B4-BE49-F238E27FC236}">
                <a16:creationId xmlns:a16="http://schemas.microsoft.com/office/drawing/2014/main" id="{5529669F-886B-4D6A-ABB4-DC5297C0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614" y="3373340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B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3" name="Rectangle 306">
            <a:extLst>
              <a:ext uri="{FF2B5EF4-FFF2-40B4-BE49-F238E27FC236}">
                <a16:creationId xmlns:a16="http://schemas.microsoft.com/office/drawing/2014/main" id="{178AB1FC-887A-4690-A016-B3D384B42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660" y="407094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V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4" name="Rectangle 307">
            <a:extLst>
              <a:ext uri="{FF2B5EF4-FFF2-40B4-BE49-F238E27FC236}">
                <a16:creationId xmlns:a16="http://schemas.microsoft.com/office/drawing/2014/main" id="{8DAABAA8-62E8-4559-8C30-5D6C13A94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2852" y="4256433"/>
            <a:ext cx="341846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6" name="TextBox 7">
            <a:extLst>
              <a:ext uri="{FF2B5EF4-FFF2-40B4-BE49-F238E27FC236}">
                <a16:creationId xmlns:a16="http://schemas.microsoft.com/office/drawing/2014/main" id="{26B45494-8F6C-4C0C-ACA6-ADCA4E105859}"/>
              </a:ext>
            </a:extLst>
          </p:cNvPr>
          <p:cNvSpPr txBox="1"/>
          <p:nvPr/>
        </p:nvSpPr>
        <p:spPr>
          <a:xfrm>
            <a:off x="1319629" y="1136585"/>
            <a:ext cx="3958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7EB195F-BFA8-4945-B916-741F39DC621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181305" y="1223938"/>
          <a:ext cx="730372" cy="5192955"/>
        </p:xfrm>
        <a:graphic>
          <a:graphicData uri="http://schemas.openxmlformats.org/drawingml/2006/table">
            <a:tbl>
              <a:tblPr/>
              <a:tblGrid>
                <a:gridCol w="730372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kcino-vanýc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2 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2 4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68 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 2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7 8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 8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 9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 2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 8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2 5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 7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 5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3 9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9 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3 7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08" name="TextovéPole 107"/>
          <p:cNvSpPr txBox="1"/>
          <p:nvPr/>
        </p:nvSpPr>
        <p:spPr>
          <a:xfrm>
            <a:off x="783996" y="692518"/>
            <a:ext cx="3321565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unikátních osob (nikoli dávek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" name="Rectangle 4">
            <a:extLst>
              <a:ext uri="{FF2B5EF4-FFF2-40B4-BE49-F238E27FC236}">
                <a16:creationId xmlns:a16="http://schemas.microsoft.com/office/drawing/2014/main" id="{B5311BF1-5ED9-41AC-B92C-E95A673A93F0}"/>
              </a:ext>
            </a:extLst>
          </p:cNvPr>
          <p:cNvSpPr/>
          <p:nvPr/>
        </p:nvSpPr>
        <p:spPr>
          <a:xfrm>
            <a:off x="9916369" y="1937440"/>
            <a:ext cx="203210" cy="203210"/>
          </a:xfrm>
          <a:prstGeom prst="rect">
            <a:avLst/>
          </a:prstGeom>
          <a:solidFill>
            <a:srgbClr val="31539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" name="Rectangle 99">
            <a:extLst>
              <a:ext uri="{FF2B5EF4-FFF2-40B4-BE49-F238E27FC236}">
                <a16:creationId xmlns:a16="http://schemas.microsoft.com/office/drawing/2014/main" id="{799246A8-1EE1-4A4D-B48B-91BA6E17A535}"/>
              </a:ext>
            </a:extLst>
          </p:cNvPr>
          <p:cNvSpPr/>
          <p:nvPr/>
        </p:nvSpPr>
        <p:spPr>
          <a:xfrm>
            <a:off x="9916369" y="2285148"/>
            <a:ext cx="203210" cy="203210"/>
          </a:xfrm>
          <a:prstGeom prst="rect">
            <a:avLst/>
          </a:prstGeom>
          <a:solidFill>
            <a:srgbClr val="7191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Rectangle 100">
            <a:extLst>
              <a:ext uri="{FF2B5EF4-FFF2-40B4-BE49-F238E27FC236}">
                <a16:creationId xmlns:a16="http://schemas.microsoft.com/office/drawing/2014/main" id="{C67230FF-6DD9-4760-85BE-4FDD4D9517B1}"/>
              </a:ext>
            </a:extLst>
          </p:cNvPr>
          <p:cNvSpPr/>
          <p:nvPr/>
        </p:nvSpPr>
        <p:spPr>
          <a:xfrm>
            <a:off x="9916369" y="2632856"/>
            <a:ext cx="203210" cy="203210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" name="Rectangle 101">
            <a:extLst>
              <a:ext uri="{FF2B5EF4-FFF2-40B4-BE49-F238E27FC236}">
                <a16:creationId xmlns:a16="http://schemas.microsoft.com/office/drawing/2014/main" id="{763E2ECD-5C44-46EF-819F-F5018A03A639}"/>
              </a:ext>
            </a:extLst>
          </p:cNvPr>
          <p:cNvSpPr/>
          <p:nvPr/>
        </p:nvSpPr>
        <p:spPr>
          <a:xfrm>
            <a:off x="9916369" y="2980564"/>
            <a:ext cx="203210" cy="20321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TextBox 103">
            <a:extLst>
              <a:ext uri="{FF2B5EF4-FFF2-40B4-BE49-F238E27FC236}">
                <a16:creationId xmlns:a16="http://schemas.microsoft.com/office/drawing/2014/main" id="{70E915B1-6478-48E4-BC21-9CFED2EFEE84}"/>
              </a:ext>
            </a:extLst>
          </p:cNvPr>
          <p:cNvSpPr txBox="1"/>
          <p:nvPr/>
        </p:nvSpPr>
        <p:spPr>
          <a:xfrm>
            <a:off x="10178905" y="290405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4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" name="TextBox 104">
            <a:extLst>
              <a:ext uri="{FF2B5EF4-FFF2-40B4-BE49-F238E27FC236}">
                <a16:creationId xmlns:a16="http://schemas.microsoft.com/office/drawing/2014/main" id="{5BAE935E-F72F-4C15-BC63-2D6B6878BE37}"/>
              </a:ext>
            </a:extLst>
          </p:cNvPr>
          <p:cNvSpPr txBox="1"/>
          <p:nvPr/>
        </p:nvSpPr>
        <p:spPr>
          <a:xfrm>
            <a:off x="10192137" y="2569570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4,00–59,99</a:t>
            </a:r>
          </a:p>
        </p:txBody>
      </p:sp>
      <p:sp>
        <p:nvSpPr>
          <p:cNvPr id="122" name="TextBox 105">
            <a:extLst>
              <a:ext uri="{FF2B5EF4-FFF2-40B4-BE49-F238E27FC236}">
                <a16:creationId xmlns:a16="http://schemas.microsoft.com/office/drawing/2014/main" id="{A2AE923E-B0B2-4B49-96E8-D6CC366A2C88}"/>
              </a:ext>
            </a:extLst>
          </p:cNvPr>
          <p:cNvSpPr txBox="1"/>
          <p:nvPr/>
        </p:nvSpPr>
        <p:spPr>
          <a:xfrm>
            <a:off x="10178451" y="2219187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,00–62,99</a:t>
            </a:r>
          </a:p>
        </p:txBody>
      </p:sp>
      <p:sp>
        <p:nvSpPr>
          <p:cNvPr id="123" name="TextBox 106">
            <a:extLst>
              <a:ext uri="{FF2B5EF4-FFF2-40B4-BE49-F238E27FC236}">
                <a16:creationId xmlns:a16="http://schemas.microsoft.com/office/drawing/2014/main" id="{34BA619D-FA91-4782-9BC5-4373585B8F99}"/>
              </a:ext>
            </a:extLst>
          </p:cNvPr>
          <p:cNvSpPr txBox="1"/>
          <p:nvPr/>
        </p:nvSpPr>
        <p:spPr>
          <a:xfrm>
            <a:off x="10159693" y="1858889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3,0</a:t>
            </a:r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A0FABA55-A6D6-4F85-8AFF-63C0F85B3134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sp>
        <p:nvSpPr>
          <p:cNvPr id="102" name="TextBox 6">
            <a:extLst>
              <a:ext uri="{FF2B5EF4-FFF2-40B4-BE49-F238E27FC236}">
                <a16:creationId xmlns:a16="http://schemas.microsoft.com/office/drawing/2014/main" id="{472CBAC0-5946-4465-9EE6-68C518EFE2ED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. 12. 2021</a:t>
            </a:r>
          </a:p>
        </p:txBody>
      </p:sp>
    </p:spTree>
    <p:extLst>
      <p:ext uri="{BB962C8B-B14F-4D97-AF65-F5344CB8AC3E}">
        <p14:creationId xmlns:p14="http://schemas.microsoft.com/office/powerpoint/2010/main" val="40085260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bydliště</a:t>
            </a:r>
            <a:r>
              <a:rPr lang="cs-CZ" dirty="0"/>
              <a:t>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223D-04DC-459A-A7C2-69EB1368F112}"/>
              </a:ext>
            </a:extLst>
          </p:cNvPr>
          <p:cNvGraphicFramePr/>
          <p:nvPr>
            <p:extLst/>
          </p:nvPr>
        </p:nvGraphicFramePr>
        <p:xfrm>
          <a:off x="172061" y="1443642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D7DAEF-8678-4239-947C-9AB224285FDF}"/>
              </a:ext>
            </a:extLst>
          </p:cNvPr>
          <p:cNvSpPr txBox="1"/>
          <p:nvPr/>
        </p:nvSpPr>
        <p:spPr>
          <a:xfrm>
            <a:off x="6890411" y="1117535"/>
            <a:ext cx="45143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2E392B-240E-4C0F-AD74-974F8D3293FC}"/>
              </a:ext>
            </a:extLst>
          </p:cNvPr>
          <p:cNvSpPr/>
          <p:nvPr/>
        </p:nvSpPr>
        <p:spPr>
          <a:xfrm>
            <a:off x="9916369" y="1937440"/>
            <a:ext cx="203210" cy="203210"/>
          </a:xfrm>
          <a:prstGeom prst="rect">
            <a:avLst/>
          </a:prstGeom>
          <a:solidFill>
            <a:srgbClr val="31539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73343B1-38DB-4454-BEC7-7D783C80D202}"/>
              </a:ext>
            </a:extLst>
          </p:cNvPr>
          <p:cNvSpPr/>
          <p:nvPr/>
        </p:nvSpPr>
        <p:spPr>
          <a:xfrm>
            <a:off x="9916369" y="2285148"/>
            <a:ext cx="203210" cy="203210"/>
          </a:xfrm>
          <a:prstGeom prst="rect">
            <a:avLst/>
          </a:prstGeom>
          <a:solidFill>
            <a:srgbClr val="7191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400BFFE-C06B-4B17-AE74-5D4CCABA1F19}"/>
              </a:ext>
            </a:extLst>
          </p:cNvPr>
          <p:cNvSpPr/>
          <p:nvPr/>
        </p:nvSpPr>
        <p:spPr>
          <a:xfrm>
            <a:off x="9916369" y="2632856"/>
            <a:ext cx="203210" cy="203210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0607D2D-10F6-4550-A76A-3631C17394BF}"/>
              </a:ext>
            </a:extLst>
          </p:cNvPr>
          <p:cNvSpPr/>
          <p:nvPr/>
        </p:nvSpPr>
        <p:spPr>
          <a:xfrm>
            <a:off x="9916369" y="2980564"/>
            <a:ext cx="203210" cy="20321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16C5501-0A0D-483E-9980-85832796A62C}"/>
              </a:ext>
            </a:extLst>
          </p:cNvPr>
          <p:cNvSpPr txBox="1"/>
          <p:nvPr/>
        </p:nvSpPr>
        <p:spPr>
          <a:xfrm>
            <a:off x="10178905" y="290405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9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9824DF73-D1DC-4B67-9B05-DA2B841A6A02}"/>
              </a:ext>
            </a:extLst>
          </p:cNvPr>
          <p:cNvSpPr txBox="1"/>
          <p:nvPr/>
        </p:nvSpPr>
        <p:spPr>
          <a:xfrm>
            <a:off x="10192137" y="2569570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9,00–60,99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234E8BA-E79D-46F8-95EB-7AB2E601299E}"/>
              </a:ext>
            </a:extLst>
          </p:cNvPr>
          <p:cNvSpPr txBox="1"/>
          <p:nvPr/>
        </p:nvSpPr>
        <p:spPr>
          <a:xfrm>
            <a:off x="10178451" y="2219187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1,00–62,99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77F0896-A4D3-4EE1-86C6-EACE5FA93733}"/>
              </a:ext>
            </a:extLst>
          </p:cNvPr>
          <p:cNvSpPr txBox="1"/>
          <p:nvPr/>
        </p:nvSpPr>
        <p:spPr>
          <a:xfrm>
            <a:off x="10159693" y="1858889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3,0</a:t>
            </a:r>
          </a:p>
        </p:txBody>
      </p:sp>
      <p:sp>
        <p:nvSpPr>
          <p:cNvPr id="181" name="Freeform 224">
            <a:extLst>
              <a:ext uri="{FF2B5EF4-FFF2-40B4-BE49-F238E27FC236}">
                <a16:creationId xmlns:a16="http://schemas.microsoft.com/office/drawing/2014/main" id="{0B6A9104-1908-4D50-B347-AA4A8A6EBA01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 225">
            <a:extLst>
              <a:ext uri="{FF2B5EF4-FFF2-40B4-BE49-F238E27FC236}">
                <a16:creationId xmlns:a16="http://schemas.microsoft.com/office/drawing/2014/main" id="{77651468-2EC0-4490-8E58-577A93E48F00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 226">
            <a:extLst>
              <a:ext uri="{FF2B5EF4-FFF2-40B4-BE49-F238E27FC236}">
                <a16:creationId xmlns:a16="http://schemas.microsoft.com/office/drawing/2014/main" id="{89D248F1-C874-4693-9ECE-731FEE2F3933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 227">
            <a:extLst>
              <a:ext uri="{FF2B5EF4-FFF2-40B4-BE49-F238E27FC236}">
                <a16:creationId xmlns:a16="http://schemas.microsoft.com/office/drawing/2014/main" id="{F4059F66-8CD6-44A2-880D-54A4AF5B720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228">
            <a:extLst>
              <a:ext uri="{FF2B5EF4-FFF2-40B4-BE49-F238E27FC236}">
                <a16:creationId xmlns:a16="http://schemas.microsoft.com/office/drawing/2014/main" id="{2FFAD3F4-E4A8-49E8-91E8-164670E05B62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229">
            <a:extLst>
              <a:ext uri="{FF2B5EF4-FFF2-40B4-BE49-F238E27FC236}">
                <a16:creationId xmlns:a16="http://schemas.microsoft.com/office/drawing/2014/main" id="{F77812FB-07FC-4658-AAE3-6766400F404F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230">
            <a:extLst>
              <a:ext uri="{FF2B5EF4-FFF2-40B4-BE49-F238E27FC236}">
                <a16:creationId xmlns:a16="http://schemas.microsoft.com/office/drawing/2014/main" id="{52034A59-76D4-4593-977D-1D3C86D03EFB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231">
            <a:extLst>
              <a:ext uri="{FF2B5EF4-FFF2-40B4-BE49-F238E27FC236}">
                <a16:creationId xmlns:a16="http://schemas.microsoft.com/office/drawing/2014/main" id="{5F428FC3-BD8F-4155-97CC-6C212AD56DC2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232">
            <a:extLst>
              <a:ext uri="{FF2B5EF4-FFF2-40B4-BE49-F238E27FC236}">
                <a16:creationId xmlns:a16="http://schemas.microsoft.com/office/drawing/2014/main" id="{D4AFB935-819F-4021-9924-80004082D57E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233">
            <a:extLst>
              <a:ext uri="{FF2B5EF4-FFF2-40B4-BE49-F238E27FC236}">
                <a16:creationId xmlns:a16="http://schemas.microsoft.com/office/drawing/2014/main" id="{9B0D2B55-1D79-418A-8909-34CA805DA69B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 234">
            <a:extLst>
              <a:ext uri="{FF2B5EF4-FFF2-40B4-BE49-F238E27FC236}">
                <a16:creationId xmlns:a16="http://schemas.microsoft.com/office/drawing/2014/main" id="{FE3E5A4D-1D4D-4BE7-9CE5-352DBCB67048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 235">
            <a:extLst>
              <a:ext uri="{FF2B5EF4-FFF2-40B4-BE49-F238E27FC236}">
                <a16:creationId xmlns:a16="http://schemas.microsoft.com/office/drawing/2014/main" id="{F0F529E0-BFD8-4154-8424-09F78282855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 236">
            <a:extLst>
              <a:ext uri="{FF2B5EF4-FFF2-40B4-BE49-F238E27FC236}">
                <a16:creationId xmlns:a16="http://schemas.microsoft.com/office/drawing/2014/main" id="{63C9A6B6-36AF-4D4F-B558-44F17C080A27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 237">
            <a:extLst>
              <a:ext uri="{FF2B5EF4-FFF2-40B4-BE49-F238E27FC236}">
                <a16:creationId xmlns:a16="http://schemas.microsoft.com/office/drawing/2014/main" id="{A6E4D3FA-AEE9-418F-B92C-A9C8B8891741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 238">
            <a:extLst>
              <a:ext uri="{FF2B5EF4-FFF2-40B4-BE49-F238E27FC236}">
                <a16:creationId xmlns:a16="http://schemas.microsoft.com/office/drawing/2014/main" id="{9382DC58-EC6D-4D0B-B194-441D40F06CBB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 239">
            <a:extLst>
              <a:ext uri="{FF2B5EF4-FFF2-40B4-BE49-F238E27FC236}">
                <a16:creationId xmlns:a16="http://schemas.microsoft.com/office/drawing/2014/main" id="{4B18921B-7A82-42F4-848C-9E01EE238E41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 240">
            <a:extLst>
              <a:ext uri="{FF2B5EF4-FFF2-40B4-BE49-F238E27FC236}">
                <a16:creationId xmlns:a16="http://schemas.microsoft.com/office/drawing/2014/main" id="{6AE03ECD-B257-4DB3-8854-CB10B1856F26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 241">
            <a:extLst>
              <a:ext uri="{FF2B5EF4-FFF2-40B4-BE49-F238E27FC236}">
                <a16:creationId xmlns:a16="http://schemas.microsoft.com/office/drawing/2014/main" id="{F849C224-45A7-40C4-9452-50C219A8820E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 242">
            <a:extLst>
              <a:ext uri="{FF2B5EF4-FFF2-40B4-BE49-F238E27FC236}">
                <a16:creationId xmlns:a16="http://schemas.microsoft.com/office/drawing/2014/main" id="{F2D9EA48-20C4-4926-B1A0-FB290B6713B4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 243">
            <a:extLst>
              <a:ext uri="{FF2B5EF4-FFF2-40B4-BE49-F238E27FC236}">
                <a16:creationId xmlns:a16="http://schemas.microsoft.com/office/drawing/2014/main" id="{6C759338-5D7D-414F-B4D0-ABB9CAEA73CE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 244">
            <a:extLst>
              <a:ext uri="{FF2B5EF4-FFF2-40B4-BE49-F238E27FC236}">
                <a16:creationId xmlns:a16="http://schemas.microsoft.com/office/drawing/2014/main" id="{E9CF9EC8-B0FA-426A-A878-8DF7D8A389D6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245">
            <a:extLst>
              <a:ext uri="{FF2B5EF4-FFF2-40B4-BE49-F238E27FC236}">
                <a16:creationId xmlns:a16="http://schemas.microsoft.com/office/drawing/2014/main" id="{7A416F64-A9C2-4D59-A4FB-D6B4E471835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 246">
            <a:extLst>
              <a:ext uri="{FF2B5EF4-FFF2-40B4-BE49-F238E27FC236}">
                <a16:creationId xmlns:a16="http://schemas.microsoft.com/office/drawing/2014/main" id="{2B87EEA1-2F57-4D64-BD19-1514A9AA6441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 247">
            <a:extLst>
              <a:ext uri="{FF2B5EF4-FFF2-40B4-BE49-F238E27FC236}">
                <a16:creationId xmlns:a16="http://schemas.microsoft.com/office/drawing/2014/main" id="{0206BF93-4D86-4FC5-B5A1-F4D646721936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 248">
            <a:extLst>
              <a:ext uri="{FF2B5EF4-FFF2-40B4-BE49-F238E27FC236}">
                <a16:creationId xmlns:a16="http://schemas.microsoft.com/office/drawing/2014/main" id="{7448FBF9-927B-4132-9C60-EF56D0333FA5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 249">
            <a:extLst>
              <a:ext uri="{FF2B5EF4-FFF2-40B4-BE49-F238E27FC236}">
                <a16:creationId xmlns:a16="http://schemas.microsoft.com/office/drawing/2014/main" id="{3FA0F636-FFAB-441D-9062-3180FBFF6EBA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 250">
            <a:extLst>
              <a:ext uri="{FF2B5EF4-FFF2-40B4-BE49-F238E27FC236}">
                <a16:creationId xmlns:a16="http://schemas.microsoft.com/office/drawing/2014/main" id="{2728568C-3436-4C9D-B9C1-825D9E567A5D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 251">
            <a:extLst>
              <a:ext uri="{FF2B5EF4-FFF2-40B4-BE49-F238E27FC236}">
                <a16:creationId xmlns:a16="http://schemas.microsoft.com/office/drawing/2014/main" id="{E6CF9038-2C80-41A6-94BC-50BBD1CAA881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252">
            <a:extLst>
              <a:ext uri="{FF2B5EF4-FFF2-40B4-BE49-F238E27FC236}">
                <a16:creationId xmlns:a16="http://schemas.microsoft.com/office/drawing/2014/main" id="{2DD733FA-38B9-4BA2-B9E6-82EBEE85F868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253">
            <a:extLst>
              <a:ext uri="{FF2B5EF4-FFF2-40B4-BE49-F238E27FC236}">
                <a16:creationId xmlns:a16="http://schemas.microsoft.com/office/drawing/2014/main" id="{3C9B9565-D3E8-4174-A913-091D9A1C451B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254">
            <a:extLst>
              <a:ext uri="{FF2B5EF4-FFF2-40B4-BE49-F238E27FC236}">
                <a16:creationId xmlns:a16="http://schemas.microsoft.com/office/drawing/2014/main" id="{CE1082C9-C35F-408D-9C85-62A4117AF5BB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255">
            <a:extLst>
              <a:ext uri="{FF2B5EF4-FFF2-40B4-BE49-F238E27FC236}">
                <a16:creationId xmlns:a16="http://schemas.microsoft.com/office/drawing/2014/main" id="{8CF1A89A-D5E4-44D1-A81E-39325787283C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 256">
            <a:extLst>
              <a:ext uri="{FF2B5EF4-FFF2-40B4-BE49-F238E27FC236}">
                <a16:creationId xmlns:a16="http://schemas.microsoft.com/office/drawing/2014/main" id="{8B0CA435-ACC7-4FD5-9C9C-FA1262A2C323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 257">
            <a:extLst>
              <a:ext uri="{FF2B5EF4-FFF2-40B4-BE49-F238E27FC236}">
                <a16:creationId xmlns:a16="http://schemas.microsoft.com/office/drawing/2014/main" id="{BC216BD6-3964-4876-A107-C006F84112DA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 258">
            <a:extLst>
              <a:ext uri="{FF2B5EF4-FFF2-40B4-BE49-F238E27FC236}">
                <a16:creationId xmlns:a16="http://schemas.microsoft.com/office/drawing/2014/main" id="{0AEB6FB7-3F4A-451A-8820-3832459A130A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 259">
            <a:extLst>
              <a:ext uri="{FF2B5EF4-FFF2-40B4-BE49-F238E27FC236}">
                <a16:creationId xmlns:a16="http://schemas.microsoft.com/office/drawing/2014/main" id="{6FAEF2CB-4523-46E6-BF8A-1E7545E30549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 260">
            <a:extLst>
              <a:ext uri="{FF2B5EF4-FFF2-40B4-BE49-F238E27FC236}">
                <a16:creationId xmlns:a16="http://schemas.microsoft.com/office/drawing/2014/main" id="{0239DF2D-150D-47F7-81D0-C02ADFCCC09E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3153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 261">
            <a:extLst>
              <a:ext uri="{FF2B5EF4-FFF2-40B4-BE49-F238E27FC236}">
                <a16:creationId xmlns:a16="http://schemas.microsoft.com/office/drawing/2014/main" id="{A6B15975-9BF5-497B-8828-F7F96DDB9678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 262">
            <a:extLst>
              <a:ext uri="{FF2B5EF4-FFF2-40B4-BE49-F238E27FC236}">
                <a16:creationId xmlns:a16="http://schemas.microsoft.com/office/drawing/2014/main" id="{D6FE1D06-324E-4538-B42F-50E43DF47E8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 263">
            <a:extLst>
              <a:ext uri="{FF2B5EF4-FFF2-40B4-BE49-F238E27FC236}">
                <a16:creationId xmlns:a16="http://schemas.microsoft.com/office/drawing/2014/main" id="{0E85BB07-8A3B-42F3-BF00-734A1D005C45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315397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 264">
            <a:extLst>
              <a:ext uri="{FF2B5EF4-FFF2-40B4-BE49-F238E27FC236}">
                <a16:creationId xmlns:a16="http://schemas.microsoft.com/office/drawing/2014/main" id="{72E897BA-5AC2-4D2A-8023-EE4F9FBC9327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 265">
            <a:extLst>
              <a:ext uri="{FF2B5EF4-FFF2-40B4-BE49-F238E27FC236}">
                <a16:creationId xmlns:a16="http://schemas.microsoft.com/office/drawing/2014/main" id="{8FB11F28-B0D8-47C1-938F-A2AE9BC0E266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 266">
            <a:extLst>
              <a:ext uri="{FF2B5EF4-FFF2-40B4-BE49-F238E27FC236}">
                <a16:creationId xmlns:a16="http://schemas.microsoft.com/office/drawing/2014/main" id="{A8EA0E96-2F9D-4E52-8268-591498E5BC7D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 267">
            <a:extLst>
              <a:ext uri="{FF2B5EF4-FFF2-40B4-BE49-F238E27FC236}">
                <a16:creationId xmlns:a16="http://schemas.microsoft.com/office/drawing/2014/main" id="{F25634BD-D69E-473C-B079-44087595D35B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 268">
            <a:extLst>
              <a:ext uri="{FF2B5EF4-FFF2-40B4-BE49-F238E27FC236}">
                <a16:creationId xmlns:a16="http://schemas.microsoft.com/office/drawing/2014/main" id="{A703C9E0-01E8-404E-9DA1-698768E29AC9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 269">
            <a:extLst>
              <a:ext uri="{FF2B5EF4-FFF2-40B4-BE49-F238E27FC236}">
                <a16:creationId xmlns:a16="http://schemas.microsoft.com/office/drawing/2014/main" id="{A61F8EFC-E525-41A8-8291-BFAB76324FAA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 270">
            <a:extLst>
              <a:ext uri="{FF2B5EF4-FFF2-40B4-BE49-F238E27FC236}">
                <a16:creationId xmlns:a16="http://schemas.microsoft.com/office/drawing/2014/main" id="{9E37A2F5-BFCC-451E-9C36-41F9544A97D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 271">
            <a:extLst>
              <a:ext uri="{FF2B5EF4-FFF2-40B4-BE49-F238E27FC236}">
                <a16:creationId xmlns:a16="http://schemas.microsoft.com/office/drawing/2014/main" id="{74AF8986-15FE-4DEA-AD57-6011920532E4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 272">
            <a:extLst>
              <a:ext uri="{FF2B5EF4-FFF2-40B4-BE49-F238E27FC236}">
                <a16:creationId xmlns:a16="http://schemas.microsoft.com/office/drawing/2014/main" id="{082990D4-F3F4-4E1F-A3DD-DF4D8F30C26D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 273">
            <a:extLst>
              <a:ext uri="{FF2B5EF4-FFF2-40B4-BE49-F238E27FC236}">
                <a16:creationId xmlns:a16="http://schemas.microsoft.com/office/drawing/2014/main" id="{A4F6EA75-4F6B-4787-B71F-E5878E3A0297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 274">
            <a:extLst>
              <a:ext uri="{FF2B5EF4-FFF2-40B4-BE49-F238E27FC236}">
                <a16:creationId xmlns:a16="http://schemas.microsoft.com/office/drawing/2014/main" id="{5EA7C0AA-55AE-4DBA-81B1-D0BA181F55DA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 275">
            <a:extLst>
              <a:ext uri="{FF2B5EF4-FFF2-40B4-BE49-F238E27FC236}">
                <a16:creationId xmlns:a16="http://schemas.microsoft.com/office/drawing/2014/main" id="{9CF13C67-4633-4241-AA47-4298CC15437A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 276">
            <a:extLst>
              <a:ext uri="{FF2B5EF4-FFF2-40B4-BE49-F238E27FC236}">
                <a16:creationId xmlns:a16="http://schemas.microsoft.com/office/drawing/2014/main" id="{4A155FF8-F79B-47E2-9E26-92BA2E00F991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 277">
            <a:extLst>
              <a:ext uri="{FF2B5EF4-FFF2-40B4-BE49-F238E27FC236}">
                <a16:creationId xmlns:a16="http://schemas.microsoft.com/office/drawing/2014/main" id="{1F8935AB-3A30-41C8-96CC-C7D71B9DD30F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 278">
            <a:extLst>
              <a:ext uri="{FF2B5EF4-FFF2-40B4-BE49-F238E27FC236}">
                <a16:creationId xmlns:a16="http://schemas.microsoft.com/office/drawing/2014/main" id="{F86E65A0-0A2C-4CC7-B2F3-947E0D4242C2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 279">
            <a:extLst>
              <a:ext uri="{FF2B5EF4-FFF2-40B4-BE49-F238E27FC236}">
                <a16:creationId xmlns:a16="http://schemas.microsoft.com/office/drawing/2014/main" id="{44EFCD4A-45DE-410A-A3C4-B972FAF93F0A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 280">
            <a:extLst>
              <a:ext uri="{FF2B5EF4-FFF2-40B4-BE49-F238E27FC236}">
                <a16:creationId xmlns:a16="http://schemas.microsoft.com/office/drawing/2014/main" id="{54478A0B-92C7-4C7C-985F-89EBB8B53B8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 281">
            <a:extLst>
              <a:ext uri="{FF2B5EF4-FFF2-40B4-BE49-F238E27FC236}">
                <a16:creationId xmlns:a16="http://schemas.microsoft.com/office/drawing/2014/main" id="{9F5AD7C4-6623-4CB5-A55F-4B6DDFA9337C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3153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Freeform 282">
            <a:extLst>
              <a:ext uri="{FF2B5EF4-FFF2-40B4-BE49-F238E27FC236}">
                <a16:creationId xmlns:a16="http://schemas.microsoft.com/office/drawing/2014/main" id="{9A809131-3D8C-4483-8E72-095B1A36DDEA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reeform 283">
            <a:extLst>
              <a:ext uri="{FF2B5EF4-FFF2-40B4-BE49-F238E27FC236}">
                <a16:creationId xmlns:a16="http://schemas.microsoft.com/office/drawing/2014/main" id="{05D02C98-11ED-443F-93A8-3C18DAF8E1F0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Freeform 284">
            <a:extLst>
              <a:ext uri="{FF2B5EF4-FFF2-40B4-BE49-F238E27FC236}">
                <a16:creationId xmlns:a16="http://schemas.microsoft.com/office/drawing/2014/main" id="{1CB6C04B-6EE9-4766-AAD1-94E024D85B73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2" name="Freeform 285">
            <a:extLst>
              <a:ext uri="{FF2B5EF4-FFF2-40B4-BE49-F238E27FC236}">
                <a16:creationId xmlns:a16="http://schemas.microsoft.com/office/drawing/2014/main" id="{08A93988-5B41-411B-A655-B945FFA7C986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3" name="Freeform 286">
            <a:extLst>
              <a:ext uri="{FF2B5EF4-FFF2-40B4-BE49-F238E27FC236}">
                <a16:creationId xmlns:a16="http://schemas.microsoft.com/office/drawing/2014/main" id="{8724B12F-6731-4838-ACEE-65D95324E650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Freeform 287">
            <a:extLst>
              <a:ext uri="{FF2B5EF4-FFF2-40B4-BE49-F238E27FC236}">
                <a16:creationId xmlns:a16="http://schemas.microsoft.com/office/drawing/2014/main" id="{F94AEE6A-2E40-4982-BABA-35028205E985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Freeform 288">
            <a:extLst>
              <a:ext uri="{FF2B5EF4-FFF2-40B4-BE49-F238E27FC236}">
                <a16:creationId xmlns:a16="http://schemas.microsoft.com/office/drawing/2014/main" id="{F5124FB5-1020-4708-90B7-B38F35C8A667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Freeform 289">
            <a:extLst>
              <a:ext uri="{FF2B5EF4-FFF2-40B4-BE49-F238E27FC236}">
                <a16:creationId xmlns:a16="http://schemas.microsoft.com/office/drawing/2014/main" id="{463EE6D5-0306-436E-9E9F-1BE32A367BFC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7" name="Freeform 290">
            <a:extLst>
              <a:ext uri="{FF2B5EF4-FFF2-40B4-BE49-F238E27FC236}">
                <a16:creationId xmlns:a16="http://schemas.microsoft.com/office/drawing/2014/main" id="{B2DAB78F-F125-437E-9EFA-DC3D3F09042B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F2F2F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Freeform 291">
            <a:extLst>
              <a:ext uri="{FF2B5EF4-FFF2-40B4-BE49-F238E27FC236}">
                <a16:creationId xmlns:a16="http://schemas.microsoft.com/office/drawing/2014/main" id="{A4DFD73F-B4C1-4923-A898-65A921BAE8A9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Freeform 292">
            <a:extLst>
              <a:ext uri="{FF2B5EF4-FFF2-40B4-BE49-F238E27FC236}">
                <a16:creationId xmlns:a16="http://schemas.microsoft.com/office/drawing/2014/main" id="{0BFB0321-78B8-4AFC-B7BC-51A36D2A18F9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0" name="Freeform 293">
            <a:extLst>
              <a:ext uri="{FF2B5EF4-FFF2-40B4-BE49-F238E27FC236}">
                <a16:creationId xmlns:a16="http://schemas.microsoft.com/office/drawing/2014/main" id="{0162E864-9FAE-47BE-9CB3-0153C4C77351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ctangle 294">
            <a:extLst>
              <a:ext uri="{FF2B5EF4-FFF2-40B4-BE49-F238E27FC236}">
                <a16:creationId xmlns:a16="http://schemas.microsoft.com/office/drawing/2014/main" id="{C28D643E-EE62-4E3C-8116-CD34AA13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743" y="4658674"/>
            <a:ext cx="3342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C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2" name="Rectangle 295">
            <a:extLst>
              <a:ext uri="{FF2B5EF4-FFF2-40B4-BE49-F238E27FC236}">
                <a16:creationId xmlns:a16="http://schemas.microsoft.com/office/drawing/2014/main" id="{D32E63CA-123B-424D-8D10-1741A98CE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1844" y="5609045"/>
            <a:ext cx="326653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HC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3" name="Rectangle 296">
            <a:extLst>
              <a:ext uri="{FF2B5EF4-FFF2-40B4-BE49-F238E27FC236}">
                <a16:creationId xmlns:a16="http://schemas.microsoft.com/office/drawing/2014/main" id="{BA08BA65-FA7B-4BE3-B75B-C40EBD178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1615" y="4929613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4" name="Rectangle 297">
            <a:extLst>
              <a:ext uri="{FF2B5EF4-FFF2-40B4-BE49-F238E27FC236}">
                <a16:creationId xmlns:a16="http://schemas.microsoft.com/office/drawing/2014/main" id="{879AE9DB-9E6F-465B-81C7-754B6797D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548" y="5586119"/>
            <a:ext cx="324960" cy="19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M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5" name="Rectangle 298">
            <a:extLst>
              <a:ext uri="{FF2B5EF4-FFF2-40B4-BE49-F238E27FC236}">
                <a16:creationId xmlns:a16="http://schemas.microsoft.com/office/drawing/2014/main" id="{943662ED-FDBA-4F9B-8CA5-9CA452771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453" y="5146365"/>
            <a:ext cx="3304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YS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" name="Rectangle 299">
            <a:extLst>
              <a:ext uri="{FF2B5EF4-FFF2-40B4-BE49-F238E27FC236}">
                <a16:creationId xmlns:a16="http://schemas.microsoft.com/office/drawing/2014/main" id="{1CAD1657-3C71-431E-8EEB-C76D9638C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5071" y="5367284"/>
            <a:ext cx="226000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7" name="Rectangle 300">
            <a:extLst>
              <a:ext uri="{FF2B5EF4-FFF2-40B4-BE49-F238E27FC236}">
                <a16:creationId xmlns:a16="http://schemas.microsoft.com/office/drawing/2014/main" id="{40D68B8A-61C7-45E5-88C6-8D505994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184" y="3674956"/>
            <a:ext cx="239292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8" name="Rectangle 301">
            <a:extLst>
              <a:ext uri="{FF2B5EF4-FFF2-40B4-BE49-F238E27FC236}">
                <a16:creationId xmlns:a16="http://schemas.microsoft.com/office/drawing/2014/main" id="{A7934045-FC72-49D0-848D-9FFC3A977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6262" y="4539877"/>
            <a:ext cx="35324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SK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9" name="Rectangle 302">
            <a:extLst>
              <a:ext uri="{FF2B5EF4-FFF2-40B4-BE49-F238E27FC236}">
                <a16:creationId xmlns:a16="http://schemas.microsoft.com/office/drawing/2014/main" id="{62583F7F-B66A-4E21-8F46-70740F68C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3225" y="4917108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0" name="Rectangle 303">
            <a:extLst>
              <a:ext uri="{FF2B5EF4-FFF2-40B4-BE49-F238E27FC236}">
                <a16:creationId xmlns:a16="http://schemas.microsoft.com/office/drawing/2014/main" id="{9B850361-0A99-41C5-9F6A-992542928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2256" y="447318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1" name="Rectangle 304">
            <a:extLst>
              <a:ext uri="{FF2B5EF4-FFF2-40B4-BE49-F238E27FC236}">
                <a16:creationId xmlns:a16="http://schemas.microsoft.com/office/drawing/2014/main" id="{2729B6C3-6722-4756-80EF-C4E3381A0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0524" y="3847923"/>
            <a:ext cx="252588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K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" name="Rectangle 305">
            <a:extLst>
              <a:ext uri="{FF2B5EF4-FFF2-40B4-BE49-F238E27FC236}">
                <a16:creationId xmlns:a16="http://schemas.microsoft.com/office/drawing/2014/main" id="{5529669F-886B-4D6A-ABB4-DC5297C0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614" y="3373340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B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3" name="Rectangle 306">
            <a:extLst>
              <a:ext uri="{FF2B5EF4-FFF2-40B4-BE49-F238E27FC236}">
                <a16:creationId xmlns:a16="http://schemas.microsoft.com/office/drawing/2014/main" id="{178AB1FC-887A-4690-A016-B3D384B42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660" y="407094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V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4" name="Rectangle 307">
            <a:extLst>
              <a:ext uri="{FF2B5EF4-FFF2-40B4-BE49-F238E27FC236}">
                <a16:creationId xmlns:a16="http://schemas.microsoft.com/office/drawing/2014/main" id="{8DAABAA8-62E8-4559-8C30-5D6C13A94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2852" y="4256433"/>
            <a:ext cx="341846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6" name="TextBox 7">
            <a:extLst>
              <a:ext uri="{FF2B5EF4-FFF2-40B4-BE49-F238E27FC236}">
                <a16:creationId xmlns:a16="http://schemas.microsoft.com/office/drawing/2014/main" id="{26B45494-8F6C-4C0C-ACA6-ADCA4E105859}"/>
              </a:ext>
            </a:extLst>
          </p:cNvPr>
          <p:cNvSpPr txBox="1"/>
          <p:nvPr/>
        </p:nvSpPr>
        <p:spPr>
          <a:xfrm>
            <a:off x="1319629" y="1136585"/>
            <a:ext cx="3958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7EB195F-BFA8-4945-B916-741F39DC621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162255" y="1223938"/>
          <a:ext cx="730372" cy="5192955"/>
        </p:xfrm>
        <a:graphic>
          <a:graphicData uri="http://schemas.openxmlformats.org/drawingml/2006/table">
            <a:tbl>
              <a:tblPr/>
              <a:tblGrid>
                <a:gridCol w="730372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kcino-vanýc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 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6 5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9 7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2 6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68 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 5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3 8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 8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 9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7 3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 1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 1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 4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7 5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 3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08" name="TextovéPole 107"/>
          <p:cNvSpPr txBox="1"/>
          <p:nvPr/>
        </p:nvSpPr>
        <p:spPr>
          <a:xfrm>
            <a:off x="783996" y="697148"/>
            <a:ext cx="3321565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unikátních osob (nikoli dávek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E91BDFE-6512-417D-AECA-5707BFBB91D5}"/>
              </a:ext>
            </a:extLst>
          </p:cNvPr>
          <p:cNvSpPr/>
          <p:nvPr/>
        </p:nvSpPr>
        <p:spPr>
          <a:xfrm>
            <a:off x="1214957" y="6481378"/>
            <a:ext cx="46794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dliště není uvedeno u 130 897 osob z počáteční fáze vakcinace</a:t>
            </a:r>
          </a:p>
        </p:txBody>
      </p:sp>
      <p:sp>
        <p:nvSpPr>
          <p:cNvPr id="103" name="Obdélník 102">
            <a:extLst>
              <a:ext uri="{FF2B5EF4-FFF2-40B4-BE49-F238E27FC236}">
                <a16:creationId xmlns:a16="http://schemas.microsoft.com/office/drawing/2014/main" id="{F994E4CD-FA4E-4A9F-877A-7C82D4A14E12}"/>
              </a:ext>
            </a:extLst>
          </p:cNvPr>
          <p:cNvSpPr/>
          <p:nvPr/>
        </p:nvSpPr>
        <p:spPr>
          <a:xfrm>
            <a:off x="6841454" y="6583680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sp>
        <p:nvSpPr>
          <p:cNvPr id="109" name="TextBox 6">
            <a:extLst>
              <a:ext uri="{FF2B5EF4-FFF2-40B4-BE49-F238E27FC236}">
                <a16:creationId xmlns:a16="http://schemas.microsoft.com/office/drawing/2014/main" id="{A0843AE9-191E-4072-A375-50C11518A134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. 12. 2021</a:t>
            </a:r>
          </a:p>
        </p:txBody>
      </p:sp>
    </p:spTree>
    <p:extLst>
      <p:ext uri="{BB962C8B-B14F-4D97-AF65-F5344CB8AC3E}">
        <p14:creationId xmlns:p14="http://schemas.microsoft.com/office/powerpoint/2010/main" val="27402454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B008296A-8545-4E60-AECD-21DA192E0D0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990725" y="1380648"/>
          <a:ext cx="9836658" cy="4968528"/>
        </p:xfrm>
        <a:graphic>
          <a:graphicData uri="http://schemas.openxmlformats.org/drawingml/2006/table">
            <a:tbl>
              <a:tblPr/>
              <a:tblGrid>
                <a:gridCol w="1092962">
                  <a:extLst>
                    <a:ext uri="{9D8B030D-6E8A-4147-A177-3AD203B41FA5}">
                      <a16:colId xmlns:a16="http://schemas.microsoft.com/office/drawing/2014/main" val="936918504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255413620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3133890681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1317524997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4050102300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3816109081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2943445191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2890050102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973079552"/>
                    </a:ext>
                  </a:extLst>
                </a:gridCol>
              </a:tblGrid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D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E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A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0044747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246689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D4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D5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E3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556750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E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E8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336701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EC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F0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176760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E5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E5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F2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669996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8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8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E8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2306741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7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6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F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386488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E4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E3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2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767369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C3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9C1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F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473065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E4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E4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80942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4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4542782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3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F2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B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854339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FA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8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848677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4851426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D4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D4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E7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3398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6 a více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12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16+ aplikováno </a:t>
            </a:r>
            <a:r>
              <a:rPr kumimoji="0" lang="pl-PL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 231 405 dávek, z toho 6 211 495 jsou dávky ukončovací a 938 800 dávky posilující.</a:t>
            </a:r>
          </a:p>
        </p:txBody>
      </p:sp>
      <p:graphicFrame>
        <p:nvGraphicFramePr>
          <p:cNvPr id="9" name="Table 2">
            <a:extLst>
              <a:ext uri="{FF2B5EF4-FFF2-40B4-BE49-F238E27FC236}">
                <a16:creationId xmlns:a16="http://schemas.microsoft.com/office/drawing/2014/main" id="{C828F090-399D-4BAF-84A3-963779A0EB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291381"/>
              </p:ext>
            </p:extLst>
          </p:nvPr>
        </p:nvGraphicFramePr>
        <p:xfrm>
          <a:off x="257785" y="695207"/>
          <a:ext cx="11569594" cy="5653969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36158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2797172927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324199276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3657815975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s ukončovací dávkou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s posilující dávkou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s ukončovací dávkou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1 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1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2 8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0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3 9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1 9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8 6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8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9 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 5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0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lzeň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 5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 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8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 9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6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4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Úst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 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 2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5 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 8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 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 8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0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4 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 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 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 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 6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0 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8 9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0 7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1 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 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7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 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 7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0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7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1 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6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neuvedeno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 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ČR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70 4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1 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8 8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13175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>
            <p:extLst/>
          </p:nvPr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5. 12. 202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578224" y="1866817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720 696</a:t>
            </a:r>
          </a:p>
        </p:txBody>
      </p:sp>
    </p:spTree>
    <p:extLst>
      <p:ext uri="{BB962C8B-B14F-4D97-AF65-F5344CB8AC3E}">
        <p14:creationId xmlns:p14="http://schemas.microsoft.com/office/powerpoint/2010/main" val="1383207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ukončených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>
            <p:extLst/>
          </p:nvPr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5. 12. 202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873192" y="2183908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328 323</a:t>
            </a:r>
          </a:p>
        </p:txBody>
      </p:sp>
    </p:spTree>
    <p:extLst>
      <p:ext uri="{BB962C8B-B14F-4D97-AF65-F5344CB8AC3E}">
        <p14:creationId xmlns:p14="http://schemas.microsoft.com/office/powerpoint/2010/main" val="2253710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Očkování podle  okresů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pic>
        <p:nvPicPr>
          <p:cNvPr id="6" name="Zástupný symbol pro obsah 5">
            <a:extLst>
              <a:ext uri="{FF2B5EF4-FFF2-40B4-BE49-F238E27FC236}">
                <a16:creationId xmlns:a16="http://schemas.microsoft.com/office/drawing/2014/main" id="{62419C7B-AAB1-4C37-A41A-3AA46B88737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456" y="1696718"/>
            <a:ext cx="9251088" cy="4330499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7EEC25DC-4B7F-4046-8613-DE0EC78B5978}"/>
              </a:ext>
            </a:extLst>
          </p:cNvPr>
          <p:cNvSpPr/>
          <p:nvPr/>
        </p:nvSpPr>
        <p:spPr>
          <a:xfrm>
            <a:off x="8459927" y="2108567"/>
            <a:ext cx="20199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>
              <a:defRPr/>
            </a:pPr>
            <a:r>
              <a:rPr lang="cs-CZ" dirty="0">
                <a:solidFill>
                  <a:srgbClr val="2B2B82"/>
                </a:solidFill>
                <a:latin typeface="Franklin Gothic Book" panose="020B0503020102020204"/>
              </a:rPr>
              <a:t>data k 3. 12. 2021</a:t>
            </a:r>
          </a:p>
        </p:txBody>
      </p:sp>
    </p:spTree>
    <p:extLst>
      <p:ext uri="{BB962C8B-B14F-4D97-AF65-F5344CB8AC3E}">
        <p14:creationId xmlns:p14="http://schemas.microsoft.com/office/powerpoint/2010/main" val="24665053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osilující očkování k 5. 12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7" name="Zástupný symbol pro obsah 6">
            <a:extLst>
              <a:ext uri="{FF2B5EF4-FFF2-40B4-BE49-F238E27FC236}">
                <a16:creationId xmlns:a16="http://schemas.microsoft.com/office/drawing/2014/main" id="{697E9DE5-9CFD-461A-8D5A-7700A4B41E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61310601"/>
              </p:ext>
            </p:extLst>
          </p:nvPr>
        </p:nvGraphicFramePr>
        <p:xfrm>
          <a:off x="838198" y="1380565"/>
          <a:ext cx="10515604" cy="4796400"/>
        </p:xfrm>
        <a:graphic>
          <a:graphicData uri="http://schemas.openxmlformats.org/drawingml/2006/table">
            <a:tbl>
              <a:tblPr/>
              <a:tblGrid>
                <a:gridCol w="1236105">
                  <a:extLst>
                    <a:ext uri="{9D8B030D-6E8A-4147-A177-3AD203B41FA5}">
                      <a16:colId xmlns:a16="http://schemas.microsoft.com/office/drawing/2014/main" val="41752138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086477032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694747264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341838692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819425955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153322897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2875527287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60951278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875923065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4049590502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275895430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743685116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1091773917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496215844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619683727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73300138"/>
                    </a:ext>
                  </a:extLst>
                </a:gridCol>
              </a:tblGrid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502216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7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6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5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4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4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0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5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42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317477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4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1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0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3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4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99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8954318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1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2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4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5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31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1586655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3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4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9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7526873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0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7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8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490490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5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3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5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975213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0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1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00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119402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1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9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3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9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60534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9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1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3647955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45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2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237365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4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1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6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8455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1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9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67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4891938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1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65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00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48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738244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1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0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8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6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6337973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8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4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9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1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4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28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1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1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5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 0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 7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4 8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01316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9186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Aktuální situace v Královéhradeckém kraji</a:t>
            </a:r>
            <a:b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k 5. 12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64052116"/>
              </p:ext>
            </p:extLst>
          </p:nvPr>
        </p:nvGraphicFramePr>
        <p:xfrm>
          <a:off x="1656121" y="1960331"/>
          <a:ext cx="9564329" cy="364006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395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70,7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denní počet nových případů na 100 tis. obyv.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979,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23240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čet hospitalizova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48 (z toho JIP 5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9458135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potvrzených případů od 1.3.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25.17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449809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vyléče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10.78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6556811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úmrt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.92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3192666"/>
                  </a:ext>
                </a:extLst>
              </a:tr>
            </a:tbl>
          </a:graphicData>
        </a:graphic>
      </p:graphicFrame>
      <p:sp>
        <p:nvSpPr>
          <p:cNvPr id="7" name="Ovál 6">
            <a:extLst>
              <a:ext uri="{FF2B5EF4-FFF2-40B4-BE49-F238E27FC236}">
                <a16:creationId xmlns:a16="http://schemas.microsoft.com/office/drawing/2014/main" id="{DAAD4F72-BCE6-4CDE-85E1-2291F3D20889}"/>
              </a:ext>
            </a:extLst>
          </p:cNvPr>
          <p:cNvSpPr/>
          <p:nvPr/>
        </p:nvSpPr>
        <p:spPr>
          <a:xfrm>
            <a:off x="8229600" y="1960331"/>
            <a:ext cx="2752344" cy="700573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86329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raktičtí lékaři – dávky k 5. 12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6" name="Zástupný symbol pro obsah 5">
            <a:extLst>
              <a:ext uri="{FF2B5EF4-FFF2-40B4-BE49-F238E27FC236}">
                <a16:creationId xmlns:a16="http://schemas.microsoft.com/office/drawing/2014/main" id="{B4186784-7A5E-4897-AF01-6124893BD8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55230096"/>
              </p:ext>
            </p:extLst>
          </p:nvPr>
        </p:nvGraphicFramePr>
        <p:xfrm>
          <a:off x="838198" y="1389529"/>
          <a:ext cx="10515604" cy="4787440"/>
        </p:xfrm>
        <a:graphic>
          <a:graphicData uri="http://schemas.openxmlformats.org/drawingml/2006/table">
            <a:tbl>
              <a:tblPr/>
              <a:tblGrid>
                <a:gridCol w="1236105">
                  <a:extLst>
                    <a:ext uri="{9D8B030D-6E8A-4147-A177-3AD203B41FA5}">
                      <a16:colId xmlns:a16="http://schemas.microsoft.com/office/drawing/2014/main" val="1327314439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390077261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648105562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3835379684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564999617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956064508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2997264265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489333143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633892940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4096811398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945767470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906730278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588593258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93878733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97577833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696163202"/>
                    </a:ext>
                  </a:extLst>
                </a:gridCol>
              </a:tblGrid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879906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4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5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1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73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61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2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04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5511779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4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2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5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4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7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32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2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8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3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685249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71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7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0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0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8133028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4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1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2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30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1540153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5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13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210471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2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6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01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03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2936352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9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27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932479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4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0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8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2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19363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9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1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1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2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1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7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56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222253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6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5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7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14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61100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3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2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2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5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9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8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5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1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3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9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 8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2140141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8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0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98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9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2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1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0485512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4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7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1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2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0037543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8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7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2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8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6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7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6942582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1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6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6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70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26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7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84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44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0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0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 70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8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6 12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3874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40389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Informace COVID-19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70E0F8C5-58C5-4603-9D08-494ED8906A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331"/>
            <a:ext cx="10515600" cy="8679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cs-CZ" dirty="0">
                <a:hlinkClick r:id="rId3"/>
              </a:rPr>
              <a:t>COVID-19 | Královéhradecký kraj Onemocnění aktuálně od MZČR (mzcr.cz)</a:t>
            </a:r>
            <a:endParaRPr lang="cs-CZ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56A54DDB-8CB8-49E1-A45E-5540DCE5DA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1177" y="1690688"/>
            <a:ext cx="7969624" cy="4802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4373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20F01F22-7C8C-41CF-8FA4-176EFCF9E56F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E88F4AC-3EB6-4648-BF73-4809860F23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1E5C570B-BD7E-4700-B8B2-B4829E54E4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4725" y="2091108"/>
            <a:ext cx="5981700" cy="267578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cs-CZ" sz="48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ěkuji za pozornost</a:t>
            </a:r>
          </a:p>
          <a:p>
            <a:pPr marL="0" indent="0" algn="ctr">
              <a:buNone/>
            </a:pPr>
            <a:endParaRPr lang="cs-CZ" sz="4800" dirty="0">
              <a:solidFill>
                <a:srgbClr val="2B2B82"/>
              </a:solidFill>
              <a:latin typeface="Franklin Gothic Demi" panose="020B0703020102020204" pitchFamily="34" charset="0"/>
            </a:endParaRP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Demi" panose="020B0703020102020204" pitchFamily="34" charset="0"/>
              </a:rPr>
              <a:t>Martin Červíček</a:t>
            </a: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Book" panose="020B0503020102020204" pitchFamily="34" charset="0"/>
              </a:rPr>
              <a:t>hejtman</a:t>
            </a:r>
          </a:p>
        </p:txBody>
      </p:sp>
    </p:spTree>
    <p:extLst>
      <p:ext uri="{BB962C8B-B14F-4D97-AF65-F5344CB8AC3E}">
        <p14:creationId xmlns:p14="http://schemas.microsoft.com/office/powerpoint/2010/main" val="35349252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4187960"/>
              </p:ext>
            </p:extLst>
          </p:nvPr>
        </p:nvGraphicFramePr>
        <p:xfrm>
          <a:off x="1620448" y="3781925"/>
          <a:ext cx="9564329" cy="81723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4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442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348,9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03 (z toho JIP 2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690799"/>
              </p:ext>
            </p:extLst>
          </p:nvPr>
        </p:nvGraphicFramePr>
        <p:xfrm>
          <a:off x="1620448" y="4694958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07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.529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218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3 (z toho JIP 19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11" name="Zástupný symbol pro obsah 8">
            <a:extLst>
              <a:ext uri="{FF2B5EF4-FFF2-40B4-BE49-F238E27FC236}">
                <a16:creationId xmlns:a16="http://schemas.microsoft.com/office/drawing/2014/main" id="{CB21B2A3-3C4C-404D-8E37-15D7EE03B6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3206859"/>
              </p:ext>
            </p:extLst>
          </p:nvPr>
        </p:nvGraphicFramePr>
        <p:xfrm>
          <a:off x="1620447" y="1792848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147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28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190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41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397315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86 (z toho na JIP 55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8" name="Zástupný symbol pro obsah 8">
            <a:extLst>
              <a:ext uri="{FF2B5EF4-FFF2-40B4-BE49-F238E27FC236}">
                <a16:creationId xmlns:a16="http://schemas.microsoft.com/office/drawing/2014/main" id="{583A128E-FB2F-4A60-87A4-3AF0F79007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8047573"/>
              </p:ext>
            </p:extLst>
          </p:nvPr>
        </p:nvGraphicFramePr>
        <p:xfrm>
          <a:off x="1620448" y="2763551"/>
          <a:ext cx="9564329" cy="97047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21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.806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543,7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20 (z toho JIP 4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sp>
        <p:nvSpPr>
          <p:cNvPr id="10" name="Ovál 9">
            <a:extLst>
              <a:ext uri="{FF2B5EF4-FFF2-40B4-BE49-F238E27FC236}">
                <a16:creationId xmlns:a16="http://schemas.microsoft.com/office/drawing/2014/main" id="{ECA47C15-8413-4104-901F-E580EE28AFB9}"/>
              </a:ext>
            </a:extLst>
          </p:cNvPr>
          <p:cNvSpPr/>
          <p:nvPr/>
        </p:nvSpPr>
        <p:spPr>
          <a:xfrm>
            <a:off x="8046720" y="1744950"/>
            <a:ext cx="2927750" cy="58333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786403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 zač. r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6135908"/>
              </p:ext>
            </p:extLst>
          </p:nvPr>
        </p:nvGraphicFramePr>
        <p:xfrm>
          <a:off x="1582967" y="1936029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4. 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497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85,2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23 (z toho JIP 115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5480726"/>
              </p:ext>
            </p:extLst>
          </p:nvPr>
        </p:nvGraphicFramePr>
        <p:xfrm>
          <a:off x="1582966" y="3625868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0. 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.961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994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462 (z toho JIP 109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309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enní počty nově zjištěných C+ v KHK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7F1848E1-D1D2-4893-A4F9-1B8030C0BE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8D7EDBEB-65F9-4275-AC9B-558EC29FA8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582" y="1921203"/>
            <a:ext cx="10582835" cy="377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75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TextBox 14">
            <a:extLst>
              <a:ext uri="{FF2B5EF4-FFF2-40B4-BE49-F238E27FC236}">
                <a16:creationId xmlns:a16="http://schemas.microsoft.com/office/drawing/2014/main" id="{9FE21065-745F-4CF7-BEC5-D790548DCE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9A8C5BA-26C5-4E88-9F5B-549ACDBA485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95D034-72FD-4F2B-9BDA-3E37A4BAAA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C1801E2B-5217-4A40-9887-D4D8D0FE3EFF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46DFC13-8F3A-43EB-9A7A-C47031E55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31D5C6F4-F0BB-45A0-AFB5-FC7A59EFDB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8E88BBB-CEF4-455A-A6CB-89AACCEBE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A56BD0F1-34E8-451A-B545-A8CAB7B35E7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B908267-772A-4AD8-AD63-D229CC03B90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8" name="TextBox 31">
            <a:extLst>
              <a:ext uri="{FF2B5EF4-FFF2-40B4-BE49-F238E27FC236}">
                <a16:creationId xmlns:a16="http://schemas.microsoft.com/office/drawing/2014/main" id="{3EA84E75-EA0F-4608-ABEB-EA0611B2D36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um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9D8F8303-821D-4071-9535-88559C8181E2}"/>
              </a:ext>
            </a:extLst>
          </p:cNvPr>
          <p:cNvSpPr txBox="1"/>
          <p:nvPr/>
        </p:nvSpPr>
        <p:spPr>
          <a:xfrm>
            <a:off x="1104654" y="1993612"/>
            <a:ext cx="5693216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1. polovině prosince je možné očekávat až &gt; 7 000 hospitalizací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0" name="Přímá spojnice se šipkou 39">
            <a:extLst>
              <a:ext uri="{FF2B5EF4-FFF2-40B4-BE49-F238E27FC236}">
                <a16:creationId xmlns:a16="http://schemas.microsoft.com/office/drawing/2014/main" id="{490D0BCA-DC21-4577-95CC-B9EF0FB6F232}"/>
              </a:ext>
            </a:extLst>
          </p:cNvPr>
          <p:cNvCxnSpPr>
            <a:cxnSpLocks/>
          </p:cNvCxnSpPr>
          <p:nvPr/>
        </p:nvCxnSpPr>
        <p:spPr>
          <a:xfrm flipH="1">
            <a:off x="1049225" y="3439576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84A8C2FB-D31C-4C2A-ACAB-62DEB7B1E8B1}"/>
              </a:ext>
            </a:extLst>
          </p:cNvPr>
          <p:cNvCxnSpPr>
            <a:cxnSpLocks/>
          </p:cNvCxnSpPr>
          <p:nvPr/>
        </p:nvCxnSpPr>
        <p:spPr>
          <a:xfrm>
            <a:off x="6797870" y="3076575"/>
            <a:ext cx="0" cy="2711467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A9C80AE2-7036-4FA3-8B55-970457DF75E6}"/>
              </a:ext>
            </a:extLst>
          </p:cNvPr>
          <p:cNvCxnSpPr>
            <a:cxnSpLocks/>
          </p:cNvCxnSpPr>
          <p:nvPr/>
        </p:nvCxnSpPr>
        <p:spPr>
          <a:xfrm flipH="1">
            <a:off x="1058750" y="3020476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graphicFrame>
        <p:nvGraphicFramePr>
          <p:cNvPr id="24" name="Chart 11">
            <a:extLst>
              <a:ext uri="{FF2B5EF4-FFF2-40B4-BE49-F238E27FC236}">
                <a16:creationId xmlns:a16="http://schemas.microsoft.com/office/drawing/2014/main" id="{7FEDA2E1-822B-4686-990C-B2B34ACDC5B7}"/>
              </a:ext>
            </a:extLst>
          </p:cNvPr>
          <p:cNvGraphicFramePr/>
          <p:nvPr>
            <p:extLst/>
          </p:nvPr>
        </p:nvGraphicFramePr>
        <p:xfrm>
          <a:off x="296997" y="1602864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40CB4DFE-CA92-4C31-84A5-77297C80B74E}"/>
              </a:ext>
            </a:extLst>
          </p:cNvPr>
          <p:cNvSpPr/>
          <p:nvPr/>
        </p:nvSpPr>
        <p:spPr>
          <a:xfrm>
            <a:off x="-90770" y="6654674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30308795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8" name="TextBox 9">
            <a:extLst>
              <a:ext uri="{FF2B5EF4-FFF2-40B4-BE49-F238E27FC236}">
                <a16:creationId xmlns:a16="http://schemas.microsoft.com/office/drawing/2014/main" id="{3894B16B-2753-4AFE-9F8D-E78A709894B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50B0F0EF-F100-4894-B162-A2108E64BACC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CB45048-7782-43BD-92D3-E36EA7C183E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AD532655-36DB-41A9-BBD6-4BA46B7F81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5FB20AAC-D39F-4F15-B5E5-0FFBB07F4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8A0282F5-E2C3-48CC-B0E6-67E2D9C8230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D712442A-10A9-41F3-8911-4BCA9D1B71A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63D18B-C855-44EB-97FD-0A351BF3CD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FDFA073-5EC4-4437-86EC-DC6B0197A6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99E85366-DDD6-4A04-9DD7-40BE2B4B2B88}"/>
              </a:ext>
            </a:extLst>
          </p:cNvPr>
          <p:cNvSpPr txBox="1"/>
          <p:nvPr/>
        </p:nvSpPr>
        <p:spPr>
          <a:xfrm>
            <a:off x="1145436" y="2331510"/>
            <a:ext cx="5458306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K počátku prosince je možné očekávat &gt; 1 000 hospitalizací na JIP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C6F93941-39B7-4CA0-B572-A4E70E3B9E1C}"/>
              </a:ext>
            </a:extLst>
          </p:cNvPr>
          <p:cNvCxnSpPr>
            <a:cxnSpLocks/>
          </p:cNvCxnSpPr>
          <p:nvPr/>
        </p:nvCxnSpPr>
        <p:spPr>
          <a:xfrm flipH="1">
            <a:off x="1058750" y="3657559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F367B87B-0C6C-4E6C-9F88-88D28577260C}"/>
              </a:ext>
            </a:extLst>
          </p:cNvPr>
          <p:cNvCxnSpPr>
            <a:cxnSpLocks/>
          </p:cNvCxnSpPr>
          <p:nvPr/>
        </p:nvCxnSpPr>
        <p:spPr>
          <a:xfrm>
            <a:off x="6797870" y="3076575"/>
            <a:ext cx="0" cy="2711467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B38B8B84-6F40-46FB-A3D6-E9F16B1F8A95}"/>
              </a:ext>
            </a:extLst>
          </p:cNvPr>
          <p:cNvCxnSpPr>
            <a:cxnSpLocks/>
          </p:cNvCxnSpPr>
          <p:nvPr/>
        </p:nvCxnSpPr>
        <p:spPr>
          <a:xfrm flipH="1">
            <a:off x="1058750" y="3327524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B0B45742-1B52-447B-AC64-BBF1170E7A2D}"/>
              </a:ext>
            </a:extLst>
          </p:cNvPr>
          <p:cNvGraphicFramePr/>
          <p:nvPr/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4C3A34EC-3E1B-4A7D-AA05-6556CC8802FC}"/>
              </a:ext>
            </a:extLst>
          </p:cNvPr>
          <p:cNvSpPr/>
          <p:nvPr/>
        </p:nvSpPr>
        <p:spPr>
          <a:xfrm>
            <a:off x="-49988" y="6665062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261201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DAF9FF-5968-49D4-81D1-11C25044C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/>
              <a:t>Kapacita lůžkové péče C+ (bez lůžek následné péče)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F2C57FE-72F9-43C0-8BE1-3F2F7EAEE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" name="Zástupný symbol pro obsah 4">
            <a:extLst>
              <a:ext uri="{FF2B5EF4-FFF2-40B4-BE49-F238E27FC236}">
                <a16:creationId xmlns:a16="http://schemas.microsoft.com/office/drawing/2014/main" id="{86A974F4-BF42-420D-A0E3-48A0B8B9EB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52513"/>
            <a:ext cx="10515600" cy="4572001"/>
          </a:xfrm>
        </p:spPr>
        <p:txBody>
          <a:bodyPr/>
          <a:lstStyle/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r>
              <a:rPr lang="cs-CZ" sz="2000" dirty="0">
                <a:solidFill>
                  <a:schemeClr val="tx1"/>
                </a:solidFill>
                <a:latin typeface="+mj-lt"/>
              </a:rPr>
              <a:t>Nemocnice  podle potřeby navyšují počty lůžek pro </a:t>
            </a:r>
            <a:r>
              <a:rPr lang="cs-CZ" sz="2000" dirty="0" err="1">
                <a:solidFill>
                  <a:schemeClr val="tx1"/>
                </a:solidFill>
                <a:latin typeface="+mj-lt"/>
              </a:rPr>
              <a:t>covid</a:t>
            </a:r>
            <a:r>
              <a:rPr lang="cs-CZ" sz="2000" dirty="0">
                <a:solidFill>
                  <a:schemeClr val="tx1"/>
                </a:solidFill>
                <a:latin typeface="+mj-lt"/>
              </a:rPr>
              <a:t> pozitivní pacienty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4BCD551D-366C-454E-BD12-137C3D8281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1630285"/>
              </p:ext>
            </p:extLst>
          </p:nvPr>
        </p:nvGraphicFramePr>
        <p:xfrm>
          <a:off x="983557" y="1313971"/>
          <a:ext cx="10081452" cy="3657597"/>
        </p:xfrm>
        <a:graphic>
          <a:graphicData uri="http://schemas.openxmlformats.org/drawingml/2006/table">
            <a:tbl>
              <a:tblPr/>
              <a:tblGrid>
                <a:gridCol w="3087775">
                  <a:extLst>
                    <a:ext uri="{9D8B030D-6E8A-4147-A177-3AD203B41FA5}">
                      <a16:colId xmlns:a16="http://schemas.microsoft.com/office/drawing/2014/main" val="4214855361"/>
                    </a:ext>
                  </a:extLst>
                </a:gridCol>
                <a:gridCol w="1175798">
                  <a:extLst>
                    <a:ext uri="{9D8B030D-6E8A-4147-A177-3AD203B41FA5}">
                      <a16:colId xmlns:a16="http://schemas.microsoft.com/office/drawing/2014/main" val="2796918159"/>
                    </a:ext>
                  </a:extLst>
                </a:gridCol>
                <a:gridCol w="1125517">
                  <a:extLst>
                    <a:ext uri="{9D8B030D-6E8A-4147-A177-3AD203B41FA5}">
                      <a16:colId xmlns:a16="http://schemas.microsoft.com/office/drawing/2014/main" val="2749587344"/>
                    </a:ext>
                  </a:extLst>
                </a:gridCol>
                <a:gridCol w="1118988">
                  <a:extLst>
                    <a:ext uri="{9D8B030D-6E8A-4147-A177-3AD203B41FA5}">
                      <a16:colId xmlns:a16="http://schemas.microsoft.com/office/drawing/2014/main" val="3652915394"/>
                    </a:ext>
                  </a:extLst>
                </a:gridCol>
                <a:gridCol w="1182327">
                  <a:extLst>
                    <a:ext uri="{9D8B030D-6E8A-4147-A177-3AD203B41FA5}">
                      <a16:colId xmlns:a16="http://schemas.microsoft.com/office/drawing/2014/main" val="545310427"/>
                    </a:ext>
                  </a:extLst>
                </a:gridCol>
                <a:gridCol w="1203441">
                  <a:extLst>
                    <a:ext uri="{9D8B030D-6E8A-4147-A177-3AD203B41FA5}">
                      <a16:colId xmlns:a16="http://schemas.microsoft.com/office/drawing/2014/main" val="4175516932"/>
                    </a:ext>
                  </a:extLst>
                </a:gridCol>
                <a:gridCol w="1187606">
                  <a:extLst>
                    <a:ext uri="{9D8B030D-6E8A-4147-A177-3AD203B41FA5}">
                      <a16:colId xmlns:a16="http://schemas.microsoft.com/office/drawing/2014/main" val="3626245086"/>
                    </a:ext>
                  </a:extLst>
                </a:gridCol>
              </a:tblGrid>
              <a:tr h="50966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pacita intenzivní péč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sazená intenzivní lůž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olná intenzivní lůž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pacita standardní lůž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sazená standardní lůž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102322"/>
                  </a:ext>
                </a:extLst>
              </a:tr>
              <a:tr h="386249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9784949"/>
                  </a:ext>
                </a:extLst>
              </a:tr>
              <a:tr h="386249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Trutno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5774897"/>
                  </a:ext>
                </a:extLst>
              </a:tr>
              <a:tr h="386249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Nácho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1891173"/>
                  </a:ext>
                </a:extLst>
              </a:tr>
              <a:tr h="386249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Jičí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6451728"/>
                  </a:ext>
                </a:extLst>
              </a:tr>
              <a:tr h="386249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mocnice Rychnov nad Kněžnou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633296"/>
                  </a:ext>
                </a:extLst>
              </a:tr>
              <a:tr h="40556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tská nemocnice Dvůr Králové </a:t>
                      </a:r>
                      <a:r>
                        <a:rPr lang="cs-CZ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.L.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5109190"/>
                  </a:ext>
                </a:extLst>
              </a:tr>
              <a:tr h="40556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mocnice Vrchlab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0892298"/>
                  </a:ext>
                </a:extLst>
              </a:tr>
              <a:tr h="40556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47579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32095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C13509B-D2F3-452A-BB89-5A10A8602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1947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Aktuální nasazení Armády ČR</a:t>
            </a:r>
            <a:endParaRPr lang="cs-CZ" sz="3600" dirty="0"/>
          </a:p>
        </p:txBody>
      </p:sp>
      <p:graphicFrame>
        <p:nvGraphicFramePr>
          <p:cNvPr id="4" name="Zástupný symbol pro obsah 3">
            <a:extLst>
              <a:ext uri="{FF2B5EF4-FFF2-40B4-BE49-F238E27FC236}">
                <a16:creationId xmlns:a16="http://schemas.microsoft.com/office/drawing/2014/main" id="{5546F5DE-EBDD-4C12-A442-C04F017114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73369897"/>
              </p:ext>
            </p:extLst>
          </p:nvPr>
        </p:nvGraphicFramePr>
        <p:xfrm>
          <a:off x="1384183" y="1557147"/>
          <a:ext cx="9020067" cy="41197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27030">
                  <a:extLst>
                    <a:ext uri="{9D8B030D-6E8A-4147-A177-3AD203B41FA5}">
                      <a16:colId xmlns:a16="http://schemas.microsoft.com/office/drawing/2014/main" val="3711849303"/>
                    </a:ext>
                  </a:extLst>
                </a:gridCol>
                <a:gridCol w="1824892">
                  <a:extLst>
                    <a:ext uri="{9D8B030D-6E8A-4147-A177-3AD203B41FA5}">
                      <a16:colId xmlns:a16="http://schemas.microsoft.com/office/drawing/2014/main" val="1785689735"/>
                    </a:ext>
                  </a:extLst>
                </a:gridCol>
                <a:gridCol w="1268145">
                  <a:extLst>
                    <a:ext uri="{9D8B030D-6E8A-4147-A177-3AD203B41FA5}">
                      <a16:colId xmlns:a16="http://schemas.microsoft.com/office/drawing/2014/main" val="1035950899"/>
                    </a:ext>
                  </a:extLst>
                </a:gridCol>
              </a:tblGrid>
              <a:tr h="54608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ázev zařízení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oba nasazení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očet osob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025764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none" strike="noStrike" dirty="0">
                          <a:effectLst/>
                        </a:rPr>
                        <a:t>6.12. - 20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24726258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Náchod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5.12. - 18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91802669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Rychnov nad Kněžnou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2.12. - 15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740155024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 dirty="0">
                          <a:effectLst/>
                        </a:rPr>
                        <a:t>Oblastní nemocnice Jičín, a.s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2.12. - 15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49003250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Trutnov 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2.12. - 16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3438212969"/>
                  </a:ext>
                </a:extLst>
              </a:tr>
              <a:tr h="456038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>
                          <a:effectLst/>
                        </a:rPr>
                        <a:t>CELKEM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3810813046"/>
                  </a:ext>
                </a:extLst>
              </a:tr>
            </a:tbl>
          </a:graphicData>
        </a:graphic>
      </p:graphicFrame>
      <p:pic>
        <p:nvPicPr>
          <p:cNvPr id="5" name="Obrázek 4">
            <a:extLst>
              <a:ext uri="{FF2B5EF4-FFF2-40B4-BE49-F238E27FC236}">
                <a16:creationId xmlns:a16="http://schemas.microsoft.com/office/drawing/2014/main" id="{D91E11E4-8024-42D4-A65A-4B0F6B6C65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51" y="5916987"/>
            <a:ext cx="1343926" cy="681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685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iv Office">
  <a:themeElements>
    <a:clrScheme name="Barvy KHK">
      <a:dk1>
        <a:srgbClr val="2B2B82"/>
      </a:dk1>
      <a:lt1>
        <a:srgbClr val="FFFFFF"/>
      </a:lt1>
      <a:dk2>
        <a:srgbClr val="2B2B82"/>
      </a:dk2>
      <a:lt2>
        <a:srgbClr val="E6E6E6"/>
      </a:lt2>
      <a:accent1>
        <a:srgbClr val="C3001E"/>
      </a:accent1>
      <a:accent2>
        <a:srgbClr val="9D9DA1"/>
      </a:accent2>
      <a:accent3>
        <a:srgbClr val="2B2B82"/>
      </a:accent3>
      <a:accent4>
        <a:srgbClr val="549534"/>
      </a:accent4>
      <a:accent5>
        <a:srgbClr val="FBB824"/>
      </a:accent5>
      <a:accent6>
        <a:srgbClr val="EA3C95"/>
      </a:accent6>
      <a:hlink>
        <a:srgbClr val="2B2B82"/>
      </a:hlink>
      <a:folHlink>
        <a:srgbClr val="2B2B8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621A0F06-C68C-6B40-B2FD-73B32FF8D7D1}" vid="{E4057F24-EDAB-2B48-9201-95E380ABC8A6}"/>
    </a:ext>
  </a:extLst>
</a:theme>
</file>

<file path=ppt/theme/theme3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72</TotalTime>
  <Words>2635</Words>
  <Application>Microsoft Office PowerPoint</Application>
  <PresentationFormat>Širokoúhlá obrazovka</PresentationFormat>
  <Paragraphs>1003</Paragraphs>
  <Slides>22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22</vt:i4>
      </vt:variant>
    </vt:vector>
  </HeadingPairs>
  <TitlesOfParts>
    <vt:vector size="33" baseType="lpstr">
      <vt:lpstr>Arial</vt:lpstr>
      <vt:lpstr>Calibri</vt:lpstr>
      <vt:lpstr>Calibri Light</vt:lpstr>
      <vt:lpstr>Franklin Gothic Book</vt:lpstr>
      <vt:lpstr>Franklin Gothic Demi</vt:lpstr>
      <vt:lpstr>Franklin Gothic Medium</vt:lpstr>
      <vt:lpstr>System Font Regular</vt:lpstr>
      <vt:lpstr>Motiv Office</vt:lpstr>
      <vt:lpstr>2_Motiv Office</vt:lpstr>
      <vt:lpstr>5_Motiv Office</vt:lpstr>
      <vt:lpstr>1_Motiv Office</vt:lpstr>
      <vt:lpstr>Přehled epidemické situace a stavu očkování v Královéhradeckém kraji</vt:lpstr>
      <vt:lpstr>Aktuální situace v Královéhradeckém kraji k 5. 12. 2021</vt:lpstr>
      <vt:lpstr>Situace v Královéhradeckém kraji</vt:lpstr>
      <vt:lpstr>Situace v Královéhradeckém kraji zač. r. 2021</vt:lpstr>
      <vt:lpstr>Denní počty nově zjištěných C+ v KHK</vt:lpstr>
      <vt:lpstr>Predikce celkového počtu hospitalizací – aktuální počet léčených </vt:lpstr>
      <vt:lpstr>Predikce počtu pacientů na JIP – aktuální počet případů </vt:lpstr>
      <vt:lpstr>Kapacita lůžkové péče C+ (bez lůžek následné péče)</vt:lpstr>
      <vt:lpstr>Aktuální nasazení Armády ČR</vt:lpstr>
      <vt:lpstr>Další opatření</vt:lpstr>
      <vt:lpstr>Plošné testování ve školách</vt:lpstr>
      <vt:lpstr>Situace v pobytových službách</vt:lpstr>
      <vt:lpstr>Očkovaní v krajích (podle místa podání)</vt:lpstr>
      <vt:lpstr>Očkovaní v krajích (podle místa bydliště)</vt:lpstr>
      <vt:lpstr>Očkovaní 16 a více let – přehled podle regionů</vt:lpstr>
      <vt:lpstr>Počet očkování</vt:lpstr>
      <vt:lpstr>Počet ukončených očkování</vt:lpstr>
      <vt:lpstr>Očkování podle  okresů</vt:lpstr>
      <vt:lpstr>Posilující očkování k 5. 12. 2021</vt:lpstr>
      <vt:lpstr>Praktičtí lékaři – dávky k 5. 12. 2021</vt:lpstr>
      <vt:lpstr>Informace COVID-19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čkovací strategie Královéhradeckého kraje</dc:title>
  <dc:creator>Pejšek Miroslav Ing.</dc:creator>
  <cp:lastModifiedBy>Malíř Radek Mgr.</cp:lastModifiedBy>
  <cp:revision>509</cp:revision>
  <cp:lastPrinted>2021-12-06T08:37:32Z</cp:lastPrinted>
  <dcterms:created xsi:type="dcterms:W3CDTF">2021-01-14T19:24:21Z</dcterms:created>
  <dcterms:modified xsi:type="dcterms:W3CDTF">2021-12-06T09:39:36Z</dcterms:modified>
</cp:coreProperties>
</file>